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2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4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5.xml" ContentType="application/vnd.openxmlformats-officedocument.theme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58" r:id="rId1"/>
    <p:sldMasterId id="2147483802" r:id="rId2"/>
    <p:sldMasterId id="2147483843" r:id="rId3"/>
    <p:sldMasterId id="2147483880" r:id="rId4"/>
    <p:sldMasterId id="2147483926" r:id="rId5"/>
    <p:sldMasterId id="2147483941" r:id="rId6"/>
    <p:sldMasterId id="2147483984" r:id="rId7"/>
  </p:sldMasterIdLst>
  <p:notesMasterIdLst>
    <p:notesMasterId r:id="rId20"/>
  </p:notesMasterIdLst>
  <p:handoutMasterIdLst>
    <p:handoutMasterId r:id="rId21"/>
  </p:handoutMasterIdLst>
  <p:sldIdLst>
    <p:sldId id="1015" r:id="rId8"/>
    <p:sldId id="1136" r:id="rId9"/>
    <p:sldId id="1138" r:id="rId10"/>
    <p:sldId id="1139" r:id="rId11"/>
    <p:sldId id="1140" r:id="rId12"/>
    <p:sldId id="1141" r:id="rId13"/>
    <p:sldId id="1142" r:id="rId14"/>
    <p:sldId id="1143" r:id="rId15"/>
    <p:sldId id="1144" r:id="rId16"/>
    <p:sldId id="1145" r:id="rId17"/>
    <p:sldId id="1146" r:id="rId18"/>
    <p:sldId id="1137" r:id="rId19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7A8AE6D-6D8E-43BE-BC0D-A01C9E703AA8}">
          <p14:sldIdLst>
            <p14:sldId id="1015"/>
            <p14:sldId id="1136"/>
            <p14:sldId id="1138"/>
            <p14:sldId id="1139"/>
            <p14:sldId id="1140"/>
            <p14:sldId id="1141"/>
            <p14:sldId id="1142"/>
            <p14:sldId id="1143"/>
            <p14:sldId id="1144"/>
            <p14:sldId id="1145"/>
            <p14:sldId id="1146"/>
            <p14:sldId id="113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60" userDrawn="1">
          <p15:clr>
            <a:srgbClr val="A4A3A4"/>
          </p15:clr>
        </p15:guide>
        <p15:guide id="2" pos="2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Vera Sakalova" initials="VS" lastIdx="4" clrIdx="6">
    <p:extLst>
      <p:ext uri="{19B8F6BF-5375-455C-9EA6-DF929625EA0E}">
        <p15:presenceInfo xmlns:p15="http://schemas.microsoft.com/office/powerpoint/2012/main" userId="Vera Sakalova" providerId="None"/>
      </p:ext>
    </p:extLst>
  </p:cmAuthor>
  <p:cmAuthor id="1" name="Marciano, Victoria Heidi" initials="VM" lastIdx="1" clrIdx="0">
    <p:extLst>
      <p:ext uri="{19B8F6BF-5375-455C-9EA6-DF929625EA0E}">
        <p15:presenceInfo xmlns:p15="http://schemas.microsoft.com/office/powerpoint/2012/main" userId="Marciano, Victoria Heidi" providerId="None"/>
      </p:ext>
    </p:extLst>
  </p:cmAuthor>
  <p:cmAuthor id="8" name="Zizzamia, Frank (US - Hartford)" initials="ZF(-H" lastIdx="4" clrIdx="7">
    <p:extLst>
      <p:ext uri="{19B8F6BF-5375-455C-9EA6-DF929625EA0E}">
        <p15:presenceInfo xmlns:p15="http://schemas.microsoft.com/office/powerpoint/2012/main" userId="S-1-5-21-238447276-1040861923-1850952788-12007" providerId="AD"/>
      </p:ext>
    </p:extLst>
  </p:cmAuthor>
  <p:cmAuthor id="2" name="Bharat Govindaluri" initials="BG" lastIdx="1" clrIdx="1">
    <p:extLst>
      <p:ext uri="{19B8F6BF-5375-455C-9EA6-DF929625EA0E}">
        <p15:presenceInfo xmlns:p15="http://schemas.microsoft.com/office/powerpoint/2012/main" userId="Bharat Govindaluri" providerId="None"/>
      </p:ext>
    </p:extLst>
  </p:cmAuthor>
  <p:cmAuthor id="9" name="Tomopoulos, Peter" initials="PT" lastIdx="2" clrIdx="8">
    <p:extLst>
      <p:ext uri="{19B8F6BF-5375-455C-9EA6-DF929625EA0E}">
        <p15:presenceInfo xmlns:p15="http://schemas.microsoft.com/office/powerpoint/2012/main" userId="Tomopoulos, Peter" providerId="None"/>
      </p:ext>
    </p:extLst>
  </p:cmAuthor>
  <p:cmAuthor id="3" name="Peterson, Stefan" initials="SP" lastIdx="10" clrIdx="2">
    <p:extLst>
      <p:ext uri="{19B8F6BF-5375-455C-9EA6-DF929625EA0E}">
        <p15:presenceInfo xmlns:p15="http://schemas.microsoft.com/office/powerpoint/2012/main" userId="Peterson, Stefan" providerId="None"/>
      </p:ext>
    </p:extLst>
  </p:cmAuthor>
  <p:cmAuthor id="4" name="David Shleifer" initials="DS" lastIdx="1" clrIdx="3">
    <p:extLst>
      <p:ext uri="{19B8F6BF-5375-455C-9EA6-DF929625EA0E}">
        <p15:presenceInfo xmlns:p15="http://schemas.microsoft.com/office/powerpoint/2012/main" userId="David Shleifer" providerId="None"/>
      </p:ext>
    </p:extLst>
  </p:cmAuthor>
  <p:cmAuthor id="5" name="Celona, Steph (US - Philadelphia)" initials="CS(-P" lastIdx="16" clrIdx="4">
    <p:extLst>
      <p:ext uri="{19B8F6BF-5375-455C-9EA6-DF929625EA0E}">
        <p15:presenceInfo xmlns:p15="http://schemas.microsoft.com/office/powerpoint/2012/main" userId="S-1-5-21-238447276-1040861923-1850952788-1607178" providerId="AD"/>
      </p:ext>
    </p:extLst>
  </p:cmAuthor>
  <p:cmAuthor id="6" name="Van Dyke, William" initials="WV" lastIdx="4" clrIdx="5">
    <p:extLst>
      <p:ext uri="{19B8F6BF-5375-455C-9EA6-DF929625EA0E}">
        <p15:presenceInfo xmlns:p15="http://schemas.microsoft.com/office/powerpoint/2012/main" userId="Van Dyke, William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5C"/>
    <a:srgbClr val="E6E6E6"/>
    <a:srgbClr val="D5D5D5"/>
    <a:srgbClr val="EDF4E8"/>
    <a:srgbClr val="CBDDE2"/>
    <a:srgbClr val="A6A6A6"/>
    <a:srgbClr val="5C95A4"/>
    <a:srgbClr val="000099"/>
    <a:srgbClr val="86BC25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10" autoAdjust="0"/>
    <p:restoredTop sz="93907" autoAdjust="0"/>
  </p:normalViewPr>
  <p:slideViewPr>
    <p:cSldViewPr snapToGrid="0">
      <p:cViewPr>
        <p:scale>
          <a:sx n="100" d="100"/>
          <a:sy n="100" d="100"/>
        </p:scale>
        <p:origin x="496" y="-240"/>
      </p:cViewPr>
      <p:guideLst>
        <p:guide orient="horz" pos="360"/>
        <p:guide pos="2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>
      <p:cViewPr varScale="1">
        <p:scale>
          <a:sx n="97" d="100"/>
          <a:sy n="97" d="100"/>
        </p:scale>
        <p:origin x="3484" y="6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itchoudhary\AppData\Local\Microsoft\Windows\INetCache\Content.Outlook\AGZCZUXY\Test_manual_check.csv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itchoudhary\AppData\Local\Microsoft\Windows\INetCache\Content.Outlook\AGZCZUXY\Pekin_cause_extra_1sd.csv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7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700" baseline="0"/>
              <a:t>Manual check payments by Adjustor</a:t>
            </a:r>
            <a:endParaRPr lang="en-US" sz="7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est_manual_check!$A$11:$A$14</c:f>
              <c:strCache>
                <c:ptCount val="4"/>
                <c:pt idx="0">
                  <c:v>0-5</c:v>
                </c:pt>
                <c:pt idx="1">
                  <c:v>5-10</c:v>
                </c:pt>
                <c:pt idx="2">
                  <c:v>10-15</c:v>
                </c:pt>
                <c:pt idx="3">
                  <c:v>15-20</c:v>
                </c:pt>
              </c:strCache>
            </c:strRef>
          </c:cat>
          <c:val>
            <c:numRef>
              <c:f>Test_manual_check!$B$11:$B$14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80-41F7-A043-5122839379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59775816"/>
        <c:axId val="659778440"/>
      </c:barChart>
      <c:catAx>
        <c:axId val="659775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700"/>
                  <a:t>%</a:t>
                </a:r>
                <a:r>
                  <a:rPr lang="en-US" sz="700" baseline="0"/>
                  <a:t> of manual payments made by an adjustor</a:t>
                </a:r>
                <a:endParaRPr lang="en-US" sz="70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9778440"/>
        <c:crosses val="autoZero"/>
        <c:auto val="1"/>
        <c:lblAlgn val="ctr"/>
        <c:lblOffset val="100"/>
        <c:noMultiLvlLbl val="0"/>
      </c:catAx>
      <c:valAx>
        <c:axId val="6597784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700"/>
                  <a:t>Frequency</a:t>
                </a:r>
                <a:r>
                  <a:rPr lang="en-US" sz="700" baseline="0"/>
                  <a:t> of the adjustor</a:t>
                </a:r>
                <a:endParaRPr lang="en-US" sz="70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97758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7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700"/>
              <a:t>Historical Adjustor Payments</a:t>
            </a:r>
            <a:r>
              <a:rPr lang="en-US" sz="700" baseline="0"/>
              <a:t> above the threshold (by Loss Cause)</a:t>
            </a:r>
            <a:endParaRPr lang="en-US" sz="7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ekin_cause_extra_1sd!$D$1</c:f>
              <c:strCache>
                <c:ptCount val="1"/>
                <c:pt idx="0">
                  <c:v>Threshold Mean+S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Pekin_cause_extra_1sd!$A$2:$A$13</c:f>
              <c:strCache>
                <c:ptCount val="12"/>
                <c:pt idx="0">
                  <c:v>Burn or scald - heat or cold exposures - contact with</c:v>
                </c:pt>
                <c:pt idx="1">
                  <c:v>Explosion</c:v>
                </c:pt>
                <c:pt idx="2">
                  <c:v>Missed departure</c:v>
                </c:pt>
                <c:pt idx="3">
                  <c:v>Cancellation</c:v>
                </c:pt>
                <c:pt idx="4">
                  <c:v>Theft of entire vehicle</c:v>
                </c:pt>
                <c:pt idx="5">
                  <c:v>Crash of water vehicle</c:v>
                </c:pt>
                <c:pt idx="6">
                  <c:v>Animal/insect bite/scratch/sting</c:v>
                </c:pt>
                <c:pt idx="7">
                  <c:v>Collision while turning left</c:v>
                </c:pt>
                <c:pt idx="8">
                  <c:v>Abandonment</c:v>
                </c:pt>
                <c:pt idx="9">
                  <c:v>Collision with motor vehicle</c:v>
                </c:pt>
                <c:pt idx="10">
                  <c:v>Hail</c:v>
                </c:pt>
                <c:pt idx="11">
                  <c:v>Malicious mischief and vandalism</c:v>
                </c:pt>
              </c:strCache>
            </c:strRef>
          </c:cat>
          <c:val>
            <c:numRef>
              <c:f>Pekin_cause_extra_1sd!$D$2:$D$13</c:f>
              <c:numCache>
                <c:formatCode>_(* #,##0.0_);_(* \(#,##0.0\);_(* "-"??_);_(@_)</c:formatCode>
                <c:ptCount val="12"/>
                <c:pt idx="0">
                  <c:v>67.594839270516502</c:v>
                </c:pt>
                <c:pt idx="1">
                  <c:v>67.234080306528895</c:v>
                </c:pt>
                <c:pt idx="2">
                  <c:v>41.960606772739197</c:v>
                </c:pt>
                <c:pt idx="3">
                  <c:v>22.990724220986898</c:v>
                </c:pt>
                <c:pt idx="4">
                  <c:v>14.8456716847395</c:v>
                </c:pt>
                <c:pt idx="5">
                  <c:v>12.0768667498063</c:v>
                </c:pt>
                <c:pt idx="6">
                  <c:v>10.2327212061131</c:v>
                </c:pt>
                <c:pt idx="7">
                  <c:v>10.1958326968919</c:v>
                </c:pt>
                <c:pt idx="8" formatCode="_(* #,##0_);_(* \(#,##0\);_(* &quot;-&quot;??_);_(@_)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12-46EE-A096-65805EBDCC61}"/>
            </c:ext>
          </c:extLst>
        </c:ser>
        <c:ser>
          <c:idx val="1"/>
          <c:order val="1"/>
          <c:tx>
            <c:strRef>
              <c:f>Pekin_cause_extra_1sd!$E$1</c:f>
              <c:strCache>
                <c:ptCount val="1"/>
                <c:pt idx="0">
                  <c:v>Threshold Mean+2S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Pekin_cause_extra_1sd!$A$2:$A$13</c:f>
              <c:strCache>
                <c:ptCount val="12"/>
                <c:pt idx="0">
                  <c:v>Burn or scald - heat or cold exposures - contact with</c:v>
                </c:pt>
                <c:pt idx="1">
                  <c:v>Explosion</c:v>
                </c:pt>
                <c:pt idx="2">
                  <c:v>Missed departure</c:v>
                </c:pt>
                <c:pt idx="3">
                  <c:v>Cancellation</c:v>
                </c:pt>
                <c:pt idx="4">
                  <c:v>Theft of entire vehicle</c:v>
                </c:pt>
                <c:pt idx="5">
                  <c:v>Crash of water vehicle</c:v>
                </c:pt>
                <c:pt idx="6">
                  <c:v>Animal/insect bite/scratch/sting</c:v>
                </c:pt>
                <c:pt idx="7">
                  <c:v>Collision while turning left</c:v>
                </c:pt>
                <c:pt idx="8">
                  <c:v>Abandonment</c:v>
                </c:pt>
                <c:pt idx="9">
                  <c:v>Collision with motor vehicle</c:v>
                </c:pt>
                <c:pt idx="10">
                  <c:v>Hail</c:v>
                </c:pt>
                <c:pt idx="11">
                  <c:v>Malicious mischief and vandalism</c:v>
                </c:pt>
              </c:strCache>
            </c:strRef>
          </c:cat>
          <c:val>
            <c:numRef>
              <c:f>Pekin_cause_extra_1sd!$E$2:$E$13</c:f>
              <c:numCache>
                <c:formatCode>_(* #,##0.0_);_(* \(#,##0.0\);_(* "-"??_);_(@_)</c:formatCode>
                <c:ptCount val="12"/>
                <c:pt idx="0">
                  <c:v>43.0144816906393</c:v>
                </c:pt>
                <c:pt idx="1">
                  <c:v>54.480430344792197</c:v>
                </c:pt>
                <c:pt idx="2">
                  <c:v>19.003454515453701</c:v>
                </c:pt>
                <c:pt idx="3">
                  <c:v>0</c:v>
                </c:pt>
                <c:pt idx="4">
                  <c:v>3.6402923184280702</c:v>
                </c:pt>
                <c:pt idx="5">
                  <c:v>0</c:v>
                </c:pt>
                <c:pt idx="6">
                  <c:v>2.972854222768090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E12-46EE-A096-65805EBDCC61}"/>
            </c:ext>
          </c:extLst>
        </c:ser>
        <c:ser>
          <c:idx val="2"/>
          <c:order val="2"/>
          <c:tx>
            <c:strRef>
              <c:f>Pekin_cause_extra_1sd!$F$1</c:f>
              <c:strCache>
                <c:ptCount val="1"/>
                <c:pt idx="0">
                  <c:v>Threshold Mean+3SD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Pekin_cause_extra_1sd!$A$2:$A$13</c:f>
              <c:strCache>
                <c:ptCount val="12"/>
                <c:pt idx="0">
                  <c:v>Burn or scald - heat or cold exposures - contact with</c:v>
                </c:pt>
                <c:pt idx="1">
                  <c:v>Explosion</c:v>
                </c:pt>
                <c:pt idx="2">
                  <c:v>Missed departure</c:v>
                </c:pt>
                <c:pt idx="3">
                  <c:v>Cancellation</c:v>
                </c:pt>
                <c:pt idx="4">
                  <c:v>Theft of entire vehicle</c:v>
                </c:pt>
                <c:pt idx="5">
                  <c:v>Crash of water vehicle</c:v>
                </c:pt>
                <c:pt idx="6">
                  <c:v>Animal/insect bite/scratch/sting</c:v>
                </c:pt>
                <c:pt idx="7">
                  <c:v>Collision while turning left</c:v>
                </c:pt>
                <c:pt idx="8">
                  <c:v>Abandonment</c:v>
                </c:pt>
                <c:pt idx="9">
                  <c:v>Collision with motor vehicle</c:v>
                </c:pt>
                <c:pt idx="10">
                  <c:v>Hail</c:v>
                </c:pt>
                <c:pt idx="11">
                  <c:v>Malicious mischief and vandalism</c:v>
                </c:pt>
              </c:strCache>
            </c:strRef>
          </c:cat>
          <c:val>
            <c:numRef>
              <c:f>Pekin_cause_extra_1sd!$F$2:$F$13</c:f>
              <c:numCache>
                <c:formatCode>_(* #,##0.0_);_(* \(#,##0.0\);_(* "-"??_);_(@_)</c:formatCode>
                <c:ptCount val="12"/>
                <c:pt idx="0">
                  <c:v>18.434124110762198</c:v>
                </c:pt>
                <c:pt idx="1">
                  <c:v>41.726780383055598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E12-46EE-A096-65805EBDCC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59762696"/>
        <c:axId val="659766304"/>
      </c:barChart>
      <c:catAx>
        <c:axId val="65976269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Loss Caus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9766304"/>
        <c:crosses val="autoZero"/>
        <c:auto val="1"/>
        <c:lblAlgn val="ctr"/>
        <c:lblOffset val="100"/>
        <c:noMultiLvlLbl val="0"/>
      </c:catAx>
      <c:valAx>
        <c:axId val="6597663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700"/>
                  <a:t>% Payment above threshol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.0_);_(* \(#,##0.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97626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81D1D33-6A23-4526-9200-9DAA7C54712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01531C-2BFD-4246-9CDE-44A39054A7B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478E88-003F-4507-887C-B20B1C7BA807}" type="datetimeFigureOut">
              <a:rPr lang="en-US" smtClean="0"/>
              <a:t>10/15/2018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7BF466-6B81-49F2-9C2D-710D3ADD49C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1855B5-FB43-404F-B111-6FB8C82A885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963EAD-4ABD-41AA-BB6B-4939A061114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06157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5207" tIns="47604" rIns="95207" bIns="4760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5207" tIns="47604" rIns="95207" bIns="47604" rtlCol="0"/>
          <a:lstStyle>
            <a:lvl1pPr algn="r">
              <a:defRPr sz="1200"/>
            </a:lvl1pPr>
          </a:lstStyle>
          <a:p>
            <a:fld id="{36F2601A-CF5A-4DFD-8665-867EB5A2990F}" type="datetimeFigureOut">
              <a:rPr lang="en-US" smtClean="0"/>
              <a:t>10/15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98600" y="1200150"/>
            <a:ext cx="4318000" cy="3238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07" tIns="47604" rIns="95207" bIns="4760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8"/>
            <a:ext cx="5852160" cy="3780473"/>
          </a:xfrm>
          <a:prstGeom prst="rect">
            <a:avLst/>
          </a:prstGeom>
        </p:spPr>
        <p:txBody>
          <a:bodyPr vert="horz" lIns="95207" tIns="47604" rIns="95207" bIns="4760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5207" tIns="47604" rIns="95207" bIns="4760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5207" tIns="47604" rIns="95207" bIns="47604" rtlCol="0" anchor="b"/>
          <a:lstStyle>
            <a:lvl1pPr algn="r">
              <a:defRPr sz="1200"/>
            </a:lvl1pPr>
          </a:lstStyle>
          <a:p>
            <a:fld id="{C959906E-63AB-4645-A899-EB6615CD671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9335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81581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87634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5652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67349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06506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89693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52123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4095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2193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06194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09846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506103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6927172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3"/>
            <a:ext cx="27432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30199" y="1700213"/>
            <a:ext cx="27432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3218" y="1700213"/>
            <a:ext cx="27432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8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3219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30199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00075910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81890632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5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8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2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876879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81960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81960" y="1705378"/>
            <a:ext cx="409651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9651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48037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81960" y="424968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6" y="424968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81960" y="4103518"/>
            <a:ext cx="409651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84646" y="4103518"/>
            <a:ext cx="409651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48936" y="4255706"/>
            <a:ext cx="929536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8038" y="4249682"/>
            <a:ext cx="93312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81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0817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85268578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245467" y="1705968"/>
            <a:ext cx="2660904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60904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112933" y="1705968"/>
            <a:ext cx="2660904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5467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112933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13655716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15353764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7" y="1665288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44082046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40474656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1017443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9"/>
            <a:ext cx="8388000" cy="360363"/>
          </a:xfrm>
        </p:spPr>
        <p:txBody>
          <a:bodyPr>
            <a:normAutofit/>
          </a:bodyPr>
          <a:lstStyle>
            <a:lvl1pPr marL="0" indent="0">
              <a:buNone/>
              <a:defRPr sz="1292" b="0" baseline="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70800" y="1803543"/>
            <a:ext cx="8388000" cy="4536000"/>
          </a:xfrm>
        </p:spPr>
        <p:txBody>
          <a:bodyPr/>
          <a:lstStyle>
            <a:lvl1pPr marL="0" indent="0">
              <a:buNone/>
              <a:defRPr/>
            </a:lvl1pPr>
            <a:lvl2pPr marL="246191" indent="-246191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9330" y="6601717"/>
            <a:ext cx="7559473" cy="252000"/>
          </a:xfrm>
          <a:prstGeom prst="rect">
            <a:avLst/>
          </a:prstGeom>
        </p:spPr>
        <p:txBody>
          <a:bodyPr vert="horz" lIns="36000" tIns="0" rIns="0" bIns="0" rtlCol="0" anchor="ctr" anchorCtr="0"/>
          <a:lstStyle>
            <a:lvl1pPr algn="r">
              <a:defRPr sz="738" b="0">
                <a:solidFill>
                  <a:srgbClr val="8C8C8C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70800" y="6601717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38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95462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6958012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6729413" algn="r"/>
              </a:tabLst>
              <a:defRPr/>
            </a:lvl1pPr>
            <a:lvl2pPr marL="127000" indent="-127000">
              <a:tabLst>
                <a:tab pos="6729413" algn="r"/>
              </a:tabLst>
              <a:defRPr/>
            </a:lvl2pPr>
            <a:lvl3pPr marL="279400" indent="-127000">
              <a:tabLst>
                <a:tab pos="6729413" algn="r"/>
              </a:tabLst>
              <a:defRPr/>
            </a:lvl3pPr>
            <a:lvl4pPr marL="431800" indent="-127000">
              <a:tabLst>
                <a:tab pos="6729413" algn="r"/>
              </a:tabLst>
              <a:defRPr/>
            </a:lvl4pPr>
            <a:lvl5pPr marL="584200" indent="-127000"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CaseCode">
            <a:extLst>
              <a:ext uri="{FF2B5EF4-FFF2-40B4-BE49-F238E27FC236}">
                <a16:creationId xmlns:a16="http://schemas.microsoft.com/office/drawing/2014/main" id="{22F7CB80-E903-4EA9-9D37-5D226DF16220}"/>
              </a:ext>
            </a:extLst>
          </p:cNvPr>
          <p:cNvSpPr txBox="1"/>
          <p:nvPr userDrawn="1"/>
        </p:nvSpPr>
        <p:spPr>
          <a:xfrm>
            <a:off x="4751388" y="6732189"/>
            <a:ext cx="3672420" cy="20005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r" defTabSz="914400" rtl="0" eaLnBrk="1" latinLnBrk="0" hangingPunct="1">
              <a:spcBef>
                <a:spcPts val="0"/>
              </a:spcBef>
              <a:buSzPct val="100000"/>
              <a:buFontTx/>
              <a:buNone/>
            </a:pPr>
            <a:endParaRPr lang="en-US" sz="65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A9618A46-E981-4C4F-B570-1F889A6C7B14}"/>
              </a:ext>
            </a:extLst>
          </p:cNvPr>
          <p:cNvSpPr txBox="1"/>
          <p:nvPr userDrawn="1"/>
        </p:nvSpPr>
        <p:spPr>
          <a:xfrm>
            <a:off x="376237" y="6732190"/>
            <a:ext cx="4016376" cy="20126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400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© 2018 Deloitte Consulting LLP. All rights reser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44FF8F8-FD23-4297-8DB6-06F5E201A330}"/>
              </a:ext>
            </a:extLst>
          </p:cNvPr>
          <p:cNvSpPr txBox="1"/>
          <p:nvPr userDrawn="1"/>
        </p:nvSpPr>
        <p:spPr>
          <a:xfrm>
            <a:off x="8536782" y="6721557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3616535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gray">
          <a:xfrm>
            <a:off x="585788" y="774700"/>
            <a:ext cx="7972425" cy="479583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90000" rIns="90000" bIns="90000" anchor="ctr"/>
          <a:lstStyle/>
          <a:p>
            <a:pPr marL="119063" indent="-119063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GB" sz="1100" b="1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5" name="Picture 5" descr="LLP logo with big space copy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5" t="1778" b="59770"/>
          <a:stretch>
            <a:fillRect/>
          </a:stretch>
        </p:blipFill>
        <p:spPr bwMode="gray">
          <a:xfrm>
            <a:off x="895350" y="6026150"/>
            <a:ext cx="14446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9"/>
          <p:cNvSpPr txBox="1">
            <a:spLocks noChangeArrowheads="1"/>
          </p:cNvSpPr>
          <p:nvPr/>
        </p:nvSpPr>
        <p:spPr bwMode="gray">
          <a:xfrm>
            <a:off x="892175" y="4756150"/>
            <a:ext cx="1585913" cy="201613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  <a:cs typeface="Arial" charset="0"/>
              </a:rPr>
              <a:t>Deloitte Consulting LLP</a:t>
            </a: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892175" y="2581275"/>
            <a:ext cx="6581775" cy="549275"/>
          </a:xfrm>
        </p:spPr>
        <p:txBody>
          <a:bodyPr/>
          <a:lstStyle>
            <a:lvl1pPr>
              <a:lnSpc>
                <a:spcPts val="2200"/>
              </a:lnSpc>
              <a:spcBef>
                <a:spcPct val="10000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1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0074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92175" y="3402013"/>
            <a:ext cx="6583363" cy="439737"/>
          </a:xfrm>
          <a:ln/>
        </p:spPr>
        <p:txBody>
          <a:bodyPr/>
          <a:lstStyle>
            <a:lvl1pPr>
              <a:lnSpc>
                <a:spcPts val="1600"/>
              </a:lnSpc>
              <a:spcBef>
                <a:spcPct val="15000"/>
              </a:spcBef>
              <a:buClrTx/>
              <a:buNone/>
              <a:defRPr sz="1400" b="1"/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635716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ief Prefator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2"/>
          <p:cNvSpPr txBox="1">
            <a:spLocks noChangeArrowheads="1"/>
          </p:cNvSpPr>
          <p:nvPr/>
        </p:nvSpPr>
        <p:spPr bwMode="gray">
          <a:xfrm>
            <a:off x="1741488" y="2365375"/>
            <a:ext cx="5634037" cy="24876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0" tIns="73152" rIns="0" bIns="73152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1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746504" y="2368296"/>
            <a:ext cx="5632704" cy="2487168"/>
          </a:xfrm>
        </p:spPr>
        <p:txBody>
          <a:bodyPr tIns="73152" bIns="73152"/>
          <a:lstStyle>
            <a:lvl1pPr eaLnBrk="1" hangingPunct="1">
              <a:spcBef>
                <a:spcPct val="8000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/>
            </a:lvl1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598757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er Introductor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/>
        </p:nvSpPr>
        <p:spPr bwMode="gray">
          <a:xfrm>
            <a:off x="392113" y="1154113"/>
            <a:ext cx="4014787" cy="5135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4014216" cy="51389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736592" y="1152144"/>
            <a:ext cx="4014216" cy="51389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377884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5"/>
          <p:cNvSpPr>
            <a:spLocks noChangeShapeType="1"/>
          </p:cNvSpPr>
          <p:nvPr/>
        </p:nvSpPr>
        <p:spPr bwMode="gray">
          <a:xfrm>
            <a:off x="392113" y="806450"/>
            <a:ext cx="835501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106000"/>
              </a:lnSpc>
              <a:spcBef>
                <a:spcPct val="50000"/>
              </a:spcBef>
              <a:spcAft>
                <a:spcPct val="0"/>
              </a:spcAft>
              <a:buSzPct val="100000"/>
              <a:buFont typeface="Wingdings 2" pitchFamily="18" charset="2"/>
              <a:buNone/>
              <a:defRPr/>
            </a:pPr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92" y="514350"/>
            <a:ext cx="8345487" cy="2587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1" y="1005840"/>
            <a:ext cx="8353933" cy="494238"/>
          </a:xfrm>
        </p:spPr>
        <p:txBody>
          <a:bodyPr>
            <a:spAutoFit/>
          </a:bodyPr>
          <a:lstStyle>
            <a:lvl1pPr>
              <a:buFont typeface="Arial" pitchFamily="34" charset="0"/>
              <a:buNone/>
              <a:defRPr/>
            </a:lvl1pPr>
            <a:lvl2pPr>
              <a:defRPr/>
            </a:lvl2pPr>
            <a:lvl3pPr>
              <a:buNone/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7" name="Picture 6" descr="DEL_COL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95288" y="6645275"/>
            <a:ext cx="690562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5"/>
          <p:cNvSpPr txBox="1">
            <a:spLocks noChangeArrowheads="1"/>
          </p:cNvSpPr>
          <p:nvPr userDrawn="1"/>
        </p:nvSpPr>
        <p:spPr bwMode="gray">
          <a:xfrm>
            <a:off x="4432300" y="6664325"/>
            <a:ext cx="279400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900" dirty="0">
                <a:solidFill>
                  <a:srgbClr val="000000"/>
                </a:solidFill>
                <a:cs typeface="Arial" charset="0"/>
              </a:rPr>
              <a:t>- </a:t>
            </a:r>
            <a:fld id="{C38465DB-AC06-4839-B633-1FE5D39062F7}" type="slidenum">
              <a:rPr lang="en-US" sz="900">
                <a:solidFill>
                  <a:srgbClr val="000000"/>
                </a:solidFill>
                <a:cs typeface="Arial" charset="0"/>
              </a:rPr>
              <a:pPr algn="ctr"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srgbClr val="000000"/>
                </a:solidFill>
                <a:cs typeface="Arial" charset="0"/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50872373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2"/>
          <p:cNvSpPr txBox="1">
            <a:spLocks noChangeArrowheads="1"/>
          </p:cNvSpPr>
          <p:nvPr/>
        </p:nvSpPr>
        <p:spPr bwMode="gray">
          <a:xfrm>
            <a:off x="1741488" y="2365375"/>
            <a:ext cx="5634037" cy="24876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0" tIns="73152" rIns="0" bIns="73152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1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gray">
          <a:xfrm>
            <a:off x="2478088" y="2136775"/>
            <a:ext cx="4167187" cy="228600"/>
          </a:xfrm>
          <a:prstGeom prst="rect">
            <a:avLst/>
          </a:prstGeom>
          <a:solidFill>
            <a:schemeClr val="bg1"/>
          </a:solidFill>
          <a:ln w="12700" cap="rnd" algn="ctr">
            <a:noFill/>
            <a:miter lim="800000"/>
            <a:headEnd/>
            <a:tailEnd/>
          </a:ln>
        </p:spPr>
        <p:txBody>
          <a:bodyPr wrap="none" lIns="72000" tIns="0" rIns="72000" bIns="0" anchor="b" anchorCtr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889504" y="3081528"/>
            <a:ext cx="3346704" cy="256032"/>
          </a:xfrm>
          <a:solidFill>
            <a:schemeClr val="bg1"/>
          </a:solidFill>
        </p:spPr>
        <p:txBody>
          <a:bodyPr lIns="73152" rIns="73152" anchor="ctr" anchorCtr="1"/>
          <a:lstStyle>
            <a:lvl1pPr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471513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/>
        </p:nvSpPr>
        <p:spPr bwMode="gray">
          <a:xfrm>
            <a:off x="392113" y="1154113"/>
            <a:ext cx="4014787" cy="5135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4014216" cy="5138928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  <a:lvl2pPr>
              <a:defRPr/>
            </a:lvl2pPr>
            <a:lvl3pPr>
              <a:buNone/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736592" y="1152144"/>
            <a:ext cx="4014216" cy="5138928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93192" y="228736"/>
            <a:ext cx="8348472" cy="521208"/>
          </a:xfrm>
          <a:solidFill>
            <a:srgbClr val="FFFFFF"/>
          </a:solidFill>
        </p:spPr>
        <p:txBody>
          <a:bodyPr anchor="b"/>
          <a:lstStyle>
            <a:lvl1pPr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816201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with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gray">
          <a:xfrm>
            <a:off x="392113" y="1154113"/>
            <a:ext cx="4014787" cy="5135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4014216" cy="5138928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736592" y="1152144"/>
            <a:ext cx="4014216" cy="5138928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93192" y="256032"/>
            <a:ext cx="8348472" cy="521208"/>
          </a:xfrm>
          <a:solidFill>
            <a:srgbClr val="FFFFFF"/>
          </a:solidFill>
        </p:spPr>
        <p:txBody>
          <a:bodyPr anchor="b"/>
          <a:lstStyle>
            <a:lvl1pPr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618677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/>
        </p:nvSpPr>
        <p:spPr bwMode="gray">
          <a:xfrm>
            <a:off x="392113" y="1154113"/>
            <a:ext cx="4014787" cy="5135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8352346" cy="5138928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93192" y="256032"/>
            <a:ext cx="8348472" cy="521208"/>
          </a:xfrm>
          <a:solidFill>
            <a:srgbClr val="FFFFFF"/>
          </a:solidFill>
        </p:spPr>
        <p:txBody>
          <a:bodyPr anchor="b"/>
          <a:lstStyle>
            <a:lvl1pPr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448781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with paragraph, dash,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736592" y="1399032"/>
            <a:ext cx="4014216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399032"/>
            <a:ext cx="4014216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5308947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- 3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255264" y="1399032"/>
            <a:ext cx="2606040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399032"/>
            <a:ext cx="2606040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6126480" y="1399032"/>
            <a:ext cx="2606040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34802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00800679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-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399032"/>
            <a:ext cx="4014216" cy="2057400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736592" y="1399032"/>
            <a:ext cx="4014216" cy="2057400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393192" y="4041648"/>
            <a:ext cx="4005072" cy="2057400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4736592" y="4041648"/>
            <a:ext cx="4005072" cy="2057400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1353499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- 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399032"/>
            <a:ext cx="2606040" cy="2249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3255264" y="1399032"/>
            <a:ext cx="2606040" cy="2249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2"/>
          </p:nvPr>
        </p:nvSpPr>
        <p:spPr>
          <a:xfrm>
            <a:off x="6126480" y="1399032"/>
            <a:ext cx="2606040" cy="2249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4041839"/>
            <a:ext cx="2606040" cy="2249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3255264" y="4041839"/>
            <a:ext cx="2606040" cy="2249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6126480" y="4041839"/>
            <a:ext cx="2606040" cy="2249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5607012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ic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482563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jor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66544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66544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2066544" y="3858768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2"/>
          </p:nvPr>
        </p:nvSpPr>
        <p:spPr>
          <a:xfrm>
            <a:off x="2066544" y="520293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5577840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4"/>
          </p:nvPr>
        </p:nvSpPr>
        <p:spPr>
          <a:xfrm>
            <a:off x="5577840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25"/>
          </p:nvPr>
        </p:nvSpPr>
        <p:spPr>
          <a:xfrm>
            <a:off x="5577840" y="3858768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4"/>
          <p:cNvSpPr>
            <a:spLocks noGrp="1"/>
          </p:cNvSpPr>
          <p:nvPr>
            <p:ph type="body" sz="quarter" idx="26"/>
          </p:nvPr>
        </p:nvSpPr>
        <p:spPr>
          <a:xfrm>
            <a:off x="5577840" y="520293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326293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# points - 5 points 2 columns/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795528" y="1289304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965192" y="1289304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95528" y="2368296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4965192" y="2368296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1"/>
          </p:nvPr>
        </p:nvSpPr>
        <p:spPr>
          <a:xfrm>
            <a:off x="795528" y="3456432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795528" y="4535424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795528" y="5614416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27"/>
          </p:nvPr>
        </p:nvSpPr>
        <p:spPr>
          <a:xfrm>
            <a:off x="4965192" y="3456432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15"/>
          <p:cNvSpPr>
            <a:spLocks noGrp="1"/>
          </p:cNvSpPr>
          <p:nvPr>
            <p:ph type="body" sz="quarter" idx="29"/>
          </p:nvPr>
        </p:nvSpPr>
        <p:spPr>
          <a:xfrm>
            <a:off x="4965192" y="4535424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1"/>
          </p:nvPr>
        </p:nvSpPr>
        <p:spPr>
          <a:xfrm>
            <a:off x="4965192" y="5614416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3024505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# points - 5 point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795528" y="1289304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5138928" y="1289304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95528" y="2368296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5138928" y="2368296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1"/>
          </p:nvPr>
        </p:nvSpPr>
        <p:spPr>
          <a:xfrm>
            <a:off x="795528" y="3456432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6546250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utlined i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2496312" y="1243584"/>
            <a:ext cx="2048256" cy="2103120"/>
          </a:xfr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73152" tIns="182880" rIns="73152" bIns="73152"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243584"/>
            <a:ext cx="2048256" cy="2103120"/>
          </a:xfr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73152" tIns="182880" rIns="73152" bIns="73152"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599432" y="1243584"/>
            <a:ext cx="2048256" cy="2103120"/>
          </a:xfr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73152" tIns="182880" rIns="73152" bIns="73152"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6702552" y="1243584"/>
            <a:ext cx="2048256" cy="2103120"/>
          </a:xfr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73152" tIns="182880" rIns="73152" bIns="73152"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8117575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evrons with text boxes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828800"/>
            <a:ext cx="2039112" cy="159105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2432304" y="1828800"/>
            <a:ext cx="2039112" cy="159105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2"/>
          </p:nvPr>
        </p:nvSpPr>
        <p:spPr>
          <a:xfrm>
            <a:off x="4462272" y="1828800"/>
            <a:ext cx="2039112" cy="159105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4709160"/>
            <a:ext cx="4005072" cy="159105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4709160"/>
            <a:ext cx="4005072" cy="159105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6501384" y="1828800"/>
            <a:ext cx="2039112" cy="159105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2548867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736592" y="1399032"/>
            <a:ext cx="4005072" cy="225856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4736592" y="4041648"/>
            <a:ext cx="4005072" cy="225856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0382913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- 3/slid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93192" y="4270248"/>
            <a:ext cx="2633472" cy="202996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3259836" y="4270248"/>
            <a:ext cx="2633472" cy="202996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6126480" y="4270248"/>
            <a:ext cx="2633472" cy="202996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414379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92926735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- 2/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93192" y="4864608"/>
            <a:ext cx="4005072" cy="108813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4736592" y="4864608"/>
            <a:ext cx="4005072" cy="108813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0163855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nt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93192" y="1709928"/>
            <a:ext cx="3035808" cy="4434840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80168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chelangelo (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2898648"/>
            <a:ext cx="4014216" cy="339242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2898648"/>
            <a:ext cx="4014216" cy="339242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7672508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chelangelo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1152144"/>
            <a:ext cx="4014216" cy="513892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072542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me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2697480"/>
            <a:ext cx="4005072" cy="334670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2697480"/>
            <a:ext cx="4005072" cy="334670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1444752" y="1399032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1" i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6"/>
          </p:nvPr>
        </p:nvSpPr>
        <p:spPr>
          <a:xfrm>
            <a:off x="5788152" y="1399032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1" i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2955882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mes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2697480"/>
            <a:ext cx="4005072" cy="102412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2697480"/>
            <a:ext cx="4005072" cy="102412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1444752" y="1399032"/>
            <a:ext cx="2944368" cy="432426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 i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6"/>
          </p:nvPr>
        </p:nvSpPr>
        <p:spPr>
          <a:xfrm>
            <a:off x="5788152" y="1399032"/>
            <a:ext cx="2944368" cy="432426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 i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9"/>
          </p:nvPr>
        </p:nvSpPr>
        <p:spPr>
          <a:xfrm>
            <a:off x="393192" y="5202936"/>
            <a:ext cx="4005072" cy="102412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30"/>
          </p:nvPr>
        </p:nvSpPr>
        <p:spPr>
          <a:xfrm>
            <a:off x="4736592" y="5202936"/>
            <a:ext cx="4005072" cy="102412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3"/>
          </p:nvPr>
        </p:nvSpPr>
        <p:spPr>
          <a:xfrm>
            <a:off x="1444752" y="3904488"/>
            <a:ext cx="2944368" cy="432426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 i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34"/>
          </p:nvPr>
        </p:nvSpPr>
        <p:spPr>
          <a:xfrm>
            <a:off x="5788152" y="3904488"/>
            <a:ext cx="2944368" cy="432426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 i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8738743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mes -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1344168" y="1097280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6"/>
          </p:nvPr>
        </p:nvSpPr>
        <p:spPr>
          <a:xfrm>
            <a:off x="5669280" y="1097280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3"/>
          </p:nvPr>
        </p:nvSpPr>
        <p:spPr>
          <a:xfrm>
            <a:off x="1344168" y="2414016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34"/>
          </p:nvPr>
        </p:nvSpPr>
        <p:spPr>
          <a:xfrm>
            <a:off x="5678424" y="2414016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37"/>
          </p:nvPr>
        </p:nvSpPr>
        <p:spPr>
          <a:xfrm>
            <a:off x="1344168" y="3739896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5788152" y="3739896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1344168" y="5056632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42"/>
          </p:nvPr>
        </p:nvSpPr>
        <p:spPr>
          <a:xfrm>
            <a:off x="5678424" y="5056632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8539511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-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399032"/>
            <a:ext cx="4014216" cy="220370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736592" y="1399032"/>
            <a:ext cx="4014216" cy="220370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393192" y="4041648"/>
            <a:ext cx="4014216" cy="220370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4736592" y="4041648"/>
            <a:ext cx="4014216" cy="220370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3662169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208163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jor Points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66544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66544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2066544" y="3858768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5577840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4"/>
          </p:nvPr>
        </p:nvSpPr>
        <p:spPr>
          <a:xfrm>
            <a:off x="5577840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25"/>
          </p:nvPr>
        </p:nvSpPr>
        <p:spPr>
          <a:xfrm>
            <a:off x="5577840" y="3858768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90585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87713752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jor Point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66544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66544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5577840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4"/>
          </p:nvPr>
        </p:nvSpPr>
        <p:spPr>
          <a:xfrm>
            <a:off x="5577840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645618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jor Point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66544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5577840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782865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Major Points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45278" y="1144470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45278" y="2479494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871782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Major Points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45278" y="1144470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45278" y="2479494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2045278" y="3814518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835347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Major Points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45278" y="1144470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45278" y="2479494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2045278" y="3814518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4"/>
          <p:cNvSpPr>
            <a:spLocks noGrp="1"/>
          </p:cNvSpPr>
          <p:nvPr>
            <p:ph type="body" sz="quarter" idx="22"/>
          </p:nvPr>
        </p:nvSpPr>
        <p:spPr>
          <a:xfrm>
            <a:off x="2048822" y="5158686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519514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Single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DEL_COL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395288" y="6645275"/>
            <a:ext cx="690562" cy="13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01638" y="547688"/>
            <a:ext cx="8345487" cy="22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Line 36"/>
          <p:cNvSpPr>
            <a:spLocks noChangeShapeType="1"/>
          </p:cNvSpPr>
          <p:nvPr userDrawn="1"/>
        </p:nvSpPr>
        <p:spPr bwMode="gray">
          <a:xfrm>
            <a:off x="392113" y="806450"/>
            <a:ext cx="835501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lnSpc>
                <a:spcPct val="106000"/>
              </a:lnSpc>
              <a:spcBef>
                <a:spcPct val="30000"/>
              </a:spcBef>
              <a:spcAft>
                <a:spcPct val="0"/>
              </a:spcAft>
              <a:defRPr/>
            </a:pPr>
            <a:endParaRPr lang="en-US" sz="900" dirty="0">
              <a:solidFill>
                <a:srgbClr val="000066"/>
              </a:solidFill>
              <a:cs typeface="Arial" charset="0"/>
            </a:endParaRPr>
          </a:p>
        </p:txBody>
      </p:sp>
      <p:sp>
        <p:nvSpPr>
          <p:cNvPr id="14" name="Text Box 5"/>
          <p:cNvSpPr txBox="1">
            <a:spLocks noChangeArrowheads="1"/>
          </p:cNvSpPr>
          <p:nvPr userDrawn="1"/>
        </p:nvSpPr>
        <p:spPr bwMode="gray">
          <a:xfrm>
            <a:off x="4432300" y="6664325"/>
            <a:ext cx="279400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900" dirty="0">
                <a:solidFill>
                  <a:srgbClr val="000000"/>
                </a:solidFill>
                <a:cs typeface="Arial" charset="0"/>
              </a:rPr>
              <a:t>- </a:t>
            </a:r>
            <a:fld id="{7297920D-F45E-44CE-8996-C048252FC6C9}" type="slidenum">
              <a:rPr lang="en-US" sz="900">
                <a:solidFill>
                  <a:srgbClr val="000000"/>
                </a:solidFill>
                <a:cs typeface="Arial" charset="0"/>
              </a:rPr>
              <a:pPr algn="ctr"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srgbClr val="000000"/>
                </a:solidFill>
                <a:cs typeface="Arial" charset="0"/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415727712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1638" y="514350"/>
            <a:ext cx="8347075" cy="2587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98463" y="1000125"/>
            <a:ext cx="4092575" cy="5135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3438" y="1000125"/>
            <a:ext cx="4094162" cy="5135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814835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 noChangeArrowheads="1"/>
          </p:cNvSpPr>
          <p:nvPr>
            <p:ph type="title"/>
          </p:nvPr>
        </p:nvSpPr>
        <p:spPr bwMode="gray">
          <a:xfrm>
            <a:off x="406400" y="522288"/>
            <a:ext cx="8331200" cy="258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253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3659" y="6613525"/>
            <a:ext cx="6223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954378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223051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5"/>
          <p:cNvSpPr>
            <a:spLocks noChangeShapeType="1"/>
          </p:cNvSpPr>
          <p:nvPr/>
        </p:nvSpPr>
        <p:spPr bwMode="gray">
          <a:xfrm>
            <a:off x="392113" y="806450"/>
            <a:ext cx="835501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106000"/>
              </a:lnSpc>
              <a:spcBef>
                <a:spcPct val="50000"/>
              </a:spcBef>
              <a:spcAft>
                <a:spcPct val="0"/>
              </a:spcAft>
              <a:buSzPct val="100000"/>
              <a:buFont typeface="Wingdings 2" pitchFamily="18" charset="2"/>
              <a:buNone/>
              <a:defRPr/>
            </a:pPr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92" y="514350"/>
            <a:ext cx="8345487" cy="2587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1" y="1005840"/>
            <a:ext cx="8353933" cy="494238"/>
          </a:xfrm>
        </p:spPr>
        <p:txBody>
          <a:bodyPr>
            <a:spAutoFit/>
          </a:bodyPr>
          <a:lstStyle>
            <a:lvl1pPr>
              <a:buFont typeface="Arial" pitchFamily="34" charset="0"/>
              <a:buNone/>
              <a:defRPr/>
            </a:lvl1pPr>
            <a:lvl2pPr>
              <a:defRPr/>
            </a:lvl2pPr>
            <a:lvl3pPr>
              <a:buNone/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7" name="Picture 6" descr="DEL_COL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95288" y="6645275"/>
            <a:ext cx="690562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5"/>
          <p:cNvSpPr txBox="1">
            <a:spLocks noChangeArrowheads="1"/>
          </p:cNvSpPr>
          <p:nvPr userDrawn="1"/>
        </p:nvSpPr>
        <p:spPr bwMode="gray">
          <a:xfrm>
            <a:off x="4432300" y="6664325"/>
            <a:ext cx="279400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900" dirty="0">
                <a:solidFill>
                  <a:srgbClr val="000000"/>
                </a:solidFill>
                <a:cs typeface="Arial" charset="0"/>
              </a:rPr>
              <a:t>- </a:t>
            </a:r>
            <a:fld id="{C38465DB-AC06-4839-B633-1FE5D39062F7}" type="slidenum">
              <a:rPr lang="en-US" sz="900">
                <a:solidFill>
                  <a:srgbClr val="000000"/>
                </a:solidFill>
                <a:cs typeface="Arial" charset="0"/>
              </a:rPr>
              <a:pPr algn="ctr"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srgbClr val="000000"/>
                </a:solidFill>
                <a:cs typeface="Arial" charset="0"/>
              </a:rPr>
              <a:t> -</a:t>
            </a:r>
          </a:p>
        </p:txBody>
      </p:sp>
      <p:pic>
        <p:nvPicPr>
          <p:cNvPr id="21506" name="Picture 2" descr="C:\Users\rajparmar\Documents\Engagements\2015\Principal Financial\Logo1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3736" y="6549352"/>
            <a:ext cx="543389" cy="214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21710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07567277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gray">
          <a:xfrm>
            <a:off x="585788" y="774700"/>
            <a:ext cx="7972425" cy="479583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90000" rIns="90000" bIns="90000" anchor="ctr"/>
          <a:lstStyle/>
          <a:p>
            <a:pPr marL="119063" indent="-119063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gray">
          <a:xfrm>
            <a:off x="893763" y="4756150"/>
            <a:ext cx="15843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rnd" algn="ctr">
                <a:solidFill>
                  <a:srgbClr val="AFAFA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393700" indent="-209550" algn="l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algn="l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algn="l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algn="l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rial" pitchFamily="34" charset="0"/>
              </a:rPr>
              <a:t>Deloitte Consulting LLP</a:t>
            </a:r>
          </a:p>
        </p:txBody>
      </p:sp>
      <p:pic>
        <p:nvPicPr>
          <p:cNvPr id="6" name="Picture 16" descr="LLP logo with big space copy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5" t="1778" b="59770"/>
          <a:stretch>
            <a:fillRect/>
          </a:stretch>
        </p:blipFill>
        <p:spPr bwMode="gray">
          <a:xfrm>
            <a:off x="895350" y="6019800"/>
            <a:ext cx="144621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00739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893763" y="2581275"/>
            <a:ext cx="6580187" cy="549275"/>
          </a:xfrm>
        </p:spPr>
        <p:txBody>
          <a:bodyPr/>
          <a:lstStyle>
            <a:lvl1pPr>
              <a:lnSpc>
                <a:spcPts val="2200"/>
              </a:lnSpc>
              <a:spcBef>
                <a:spcPct val="10000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180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370074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93763" y="3402013"/>
            <a:ext cx="6581775" cy="43973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ts val="1600"/>
              </a:lnSpc>
              <a:spcBef>
                <a:spcPct val="15000"/>
              </a:spcBef>
              <a:buClrTx/>
              <a:defRPr sz="1400" b="1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3088828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5724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575523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8463" y="1000125"/>
            <a:ext cx="4092575" cy="5135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3438" y="1000125"/>
            <a:ext cx="4094162" cy="5135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222469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550666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6543036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702291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162828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299381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699876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39" y="2051999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9" y="1665289"/>
            <a:ext cx="8391524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3418159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1150" y="514350"/>
            <a:ext cx="2087563" cy="56213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8463" y="514350"/>
            <a:ext cx="6110287" cy="56213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96078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1638" y="514350"/>
            <a:ext cx="8347075" cy="2587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98463" y="1000125"/>
            <a:ext cx="4092575" cy="5135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3438" y="1000125"/>
            <a:ext cx="4094162" cy="5135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8917457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691310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928096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ircl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1973300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irc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856549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2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322964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864277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6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4128726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7200"/>
            <a:ext cx="6958012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6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340644"/>
      </p:ext>
    </p:extLst>
  </p:cSld>
  <p:clrMapOvr>
    <a:masterClrMapping/>
  </p:clrMapOvr>
  <p:transition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6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2588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7" y="1665289"/>
            <a:ext cx="2671763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8" y="1665289"/>
            <a:ext cx="267121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7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7" y="1659145"/>
            <a:ext cx="2672966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819368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6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5126272"/>
      </p:ext>
    </p:extLst>
  </p:cSld>
  <p:clrMapOvr>
    <a:masterClrMapping/>
  </p:clrMapOvr>
  <p:transition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5601536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6958012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6729413" algn="r"/>
              </a:tabLst>
              <a:defRPr/>
            </a:lvl1pPr>
            <a:lvl2pPr marL="127000" indent="-127000">
              <a:tabLst>
                <a:tab pos="6729413" algn="r"/>
              </a:tabLst>
              <a:defRPr/>
            </a:lvl2pPr>
            <a:lvl3pPr marL="279400" indent="-127000">
              <a:tabLst>
                <a:tab pos="6729413" algn="r"/>
              </a:tabLst>
              <a:defRPr/>
            </a:lvl3pPr>
            <a:lvl4pPr marL="431800" indent="-127000">
              <a:tabLst>
                <a:tab pos="6729413" algn="r"/>
              </a:tabLst>
              <a:defRPr/>
            </a:lvl4pPr>
            <a:lvl5pPr marL="584200" indent="-127000"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12717451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11315148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3863641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63501667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4779049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39" y="2051999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9" y="1665289"/>
            <a:ext cx="8391524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1783509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7" y="1665289"/>
            <a:ext cx="2671763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8" y="1665289"/>
            <a:ext cx="267121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7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7" y="1659145"/>
            <a:ext cx="2672966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1752128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1944194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93873675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1915374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7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8"/>
            <a:ext cx="4016374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5" y="2125013"/>
            <a:ext cx="4011847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39717582"/>
      </p:ext>
    </p:extLst>
  </p:cSld>
  <p:clrMapOvr>
    <a:masterClrMapping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68824" y="2125013"/>
            <a:ext cx="4206240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6" y="1665288"/>
            <a:ext cx="4011847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265735" y="2125013"/>
            <a:ext cx="4206240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954485"/>
      </p:ext>
    </p:extLst>
  </p:cSld>
  <p:clrMapOvr>
    <a:masterClrMapping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91524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3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40246292"/>
      </p:ext>
    </p:extLst>
  </p:cSld>
  <p:clrMapOvr>
    <a:masterClrMapping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1" y="1658680"/>
            <a:ext cx="3084351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82926256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7" y="3108509"/>
            <a:ext cx="2029968" cy="3264408"/>
          </a:xfrm>
        </p:spPr>
        <p:txBody>
          <a:bodyPr/>
          <a:lstStyle>
            <a:lvl1pPr marL="0" indent="0" algn="l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21995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9116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5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7" y="651600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28716421"/>
      </p:ext>
    </p:extLst>
  </p:cSld>
  <p:clrMapOvr>
    <a:masterClrMapping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lang="en-US" noProof="0" dirty="0" smtClean="0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lang="en-US" noProof="0" dirty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6888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6888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96241962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3"/>
            <a:ext cx="27432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30199" y="1700213"/>
            <a:ext cx="27432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3218" y="1700213"/>
            <a:ext cx="27432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8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3219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30199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8881790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17823376"/>
      </p:ext>
    </p:extLst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5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8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2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21255062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09916471"/>
      </p:ext>
    </p:ext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81960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81960" y="1705378"/>
            <a:ext cx="409651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9651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48037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81960" y="424968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6" y="424968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81960" y="4103518"/>
            <a:ext cx="409651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84646" y="4103518"/>
            <a:ext cx="409651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48936" y="4255706"/>
            <a:ext cx="929536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8038" y="4249682"/>
            <a:ext cx="93312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81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0817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27587231"/>
      </p:ext>
    </p:extLst>
  </p:cSld>
  <p:clrMapOvr>
    <a:masterClrMapping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245467" y="1705968"/>
            <a:ext cx="2660904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60904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112933" y="1705968"/>
            <a:ext cx="2660904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5467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112933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14892787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211310430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7" y="1665288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42344084"/>
      </p:ext>
    </p:extLst>
  </p:cSld>
  <p:clrMapOvr>
    <a:masterClrMapping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6113732"/>
      </p:ext>
    </p:extLst>
  </p:cSld>
  <p:clrMapOvr>
    <a:masterClrMapping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3054262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9"/>
            <a:ext cx="8388000" cy="360363"/>
          </a:xfrm>
        </p:spPr>
        <p:txBody>
          <a:bodyPr>
            <a:normAutofit/>
          </a:bodyPr>
          <a:lstStyle>
            <a:lvl1pPr marL="0" indent="0">
              <a:buNone/>
              <a:defRPr sz="1292" b="0" baseline="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70800" y="1803543"/>
            <a:ext cx="8388000" cy="4536000"/>
          </a:xfrm>
        </p:spPr>
        <p:txBody>
          <a:bodyPr/>
          <a:lstStyle>
            <a:lvl1pPr marL="0" indent="0">
              <a:buNone/>
              <a:defRPr/>
            </a:lvl1pPr>
            <a:lvl2pPr marL="246191" indent="-246191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9330" y="6601717"/>
            <a:ext cx="7559473" cy="252000"/>
          </a:xfrm>
          <a:prstGeom prst="rect">
            <a:avLst/>
          </a:prstGeom>
        </p:spPr>
        <p:txBody>
          <a:bodyPr vert="horz" lIns="36000" tIns="0" rIns="0" bIns="0" rtlCol="0" anchor="ctr" anchorCtr="0"/>
          <a:lstStyle>
            <a:lvl1pPr algn="r">
              <a:defRPr sz="738" b="0">
                <a:solidFill>
                  <a:srgbClr val="8C8C8C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70800" y="6601717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38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8315234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20087" y="137197"/>
            <a:ext cx="8503827" cy="5486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0645705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492197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540140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761157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9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8"/>
            <a:ext cx="4016374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5" y="2125013"/>
            <a:ext cx="4011847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60053533"/>
      </p:ext>
    </p:extLst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ircl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440757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irc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2790182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2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844749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864277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6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9803142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7200"/>
            <a:ext cx="6958012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6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941908"/>
      </p:ext>
    </p:extLst>
  </p:cSld>
  <p:clrMapOvr>
    <a:masterClrMapping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6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971083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6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183529"/>
      </p:ext>
    </p:extLst>
  </p:cSld>
  <p:clrMapOvr>
    <a:masterClrMapping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7549532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6958012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6729413" algn="r"/>
              </a:tabLst>
              <a:defRPr/>
            </a:lvl1pPr>
            <a:lvl2pPr marL="127000" indent="-127000">
              <a:tabLst>
                <a:tab pos="6729413" algn="r"/>
              </a:tabLst>
              <a:defRPr/>
            </a:lvl2pPr>
            <a:lvl3pPr marL="279400" indent="-127000">
              <a:tabLst>
                <a:tab pos="6729413" algn="r"/>
              </a:tabLst>
              <a:defRPr/>
            </a:lvl3pPr>
            <a:lvl4pPr marL="431800" indent="-127000">
              <a:tabLst>
                <a:tab pos="6729413" algn="r"/>
              </a:tabLst>
              <a:defRPr/>
            </a:lvl4pPr>
            <a:lvl5pPr marL="584200" indent="-127000"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5187258"/>
      </p:ext>
    </p:extLst>
  </p:cSld>
  <p:clrMapOvr>
    <a:masterClrMapping/>
  </p:clrMapOvr>
  <p:transition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6380057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68824" y="2125013"/>
            <a:ext cx="4206240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6" y="1665288"/>
            <a:ext cx="4011847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265735" y="2125013"/>
            <a:ext cx="4206240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6383639"/>
      </p:ext>
    </p:extLst>
  </p:cSld>
  <p:clrMapOvr>
    <a:masterClrMapping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13025720"/>
      </p:ext>
    </p:extLst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14667177"/>
      </p:ext>
    </p:extLst>
  </p:cSld>
  <p:clrMapOvr>
    <a:masterClrMapping/>
  </p:clrMapOvr>
  <p:transition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35202960"/>
      </p:ext>
    </p:extLst>
  </p:cSld>
  <p:clrMapOvr>
    <a:masterClrMapping/>
  </p:clrMapOvr>
  <p:transition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39" y="2051999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9" y="1665289"/>
            <a:ext cx="8391524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0642258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7" y="1665289"/>
            <a:ext cx="2671763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8" y="1665289"/>
            <a:ext cx="267121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7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7" y="1659145"/>
            <a:ext cx="2672966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4746219"/>
      </p:ext>
    </p:extLst>
  </p:cSld>
  <p:clrMapOvr>
    <a:masterClrMapping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4554538"/>
      </p:ext>
    </p:extLst>
  </p:cSld>
  <p:clrMapOvr>
    <a:masterClrMapping/>
  </p:clrMapOvr>
  <p:transition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89077729"/>
      </p:ext>
    </p:extLst>
  </p:cSld>
  <p:clrMapOvr>
    <a:masterClrMapping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7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8"/>
            <a:ext cx="4016374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5" y="2125013"/>
            <a:ext cx="4011847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96348663"/>
      </p:ext>
    </p:extLst>
  </p:cSld>
  <p:clrMapOvr>
    <a:masterClrMapping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68824" y="2125013"/>
            <a:ext cx="4206240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6" y="1665288"/>
            <a:ext cx="4011847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265735" y="2125013"/>
            <a:ext cx="4206240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7310514"/>
      </p:ext>
    </p:extLst>
  </p:cSld>
  <p:clrMapOvr>
    <a:masterClrMapping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91524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3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680995717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91524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3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440994395"/>
      </p:ext>
    </p:extLst>
  </p:cSld>
  <p:clrMapOvr>
    <a:masterClrMapping/>
  </p:clrMapOvr>
  <p:transition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1" y="1658680"/>
            <a:ext cx="3084351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93284689"/>
      </p:ext>
    </p:extLst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7" y="3108509"/>
            <a:ext cx="2029968" cy="3264408"/>
          </a:xfrm>
        </p:spPr>
        <p:txBody>
          <a:bodyPr/>
          <a:lstStyle>
            <a:lvl1pPr marL="0" indent="0" algn="l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21995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9116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5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7" y="651600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179550873"/>
      </p:ext>
    </p:extLst>
  </p:cSld>
  <p:clrMapOvr>
    <a:masterClrMapping/>
  </p:clrMapOvr>
  <p:transition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lang="en-US" noProof="0" dirty="0" smtClean="0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lang="en-US" noProof="0" dirty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6888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6888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271553356"/>
      </p:ext>
    </p:extLst>
  </p:cSld>
  <p:clrMapOvr>
    <a:masterClrMapping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3"/>
            <a:ext cx="27432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30199" y="1700213"/>
            <a:ext cx="27432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3218" y="1700213"/>
            <a:ext cx="27432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8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3219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30199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11718179"/>
      </p:ext>
    </p:extLst>
  </p:cSld>
  <p:clrMapOvr>
    <a:masterClrMapping/>
  </p:clrMapOvr>
  <p:transition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19512423"/>
      </p:ext>
    </p:extLst>
  </p:cSld>
  <p:clrMapOvr>
    <a:masterClrMapping/>
  </p:clrMapOvr>
  <p:transition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5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8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2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26347316"/>
      </p:ext>
    </p:extLst>
  </p:cSld>
  <p:clrMapOvr>
    <a:masterClrMapping/>
  </p:clrMapOvr>
  <p:transition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81960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81960" y="1705378"/>
            <a:ext cx="409651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9651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48037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81960" y="424968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6" y="424968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81960" y="4103518"/>
            <a:ext cx="409651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84646" y="4103518"/>
            <a:ext cx="409651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48936" y="4255706"/>
            <a:ext cx="929536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8038" y="4249682"/>
            <a:ext cx="93312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81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0817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80174243"/>
      </p:ext>
    </p:extLst>
  </p:cSld>
  <p:clrMapOvr>
    <a:masterClrMapping/>
  </p:clrMapOvr>
  <p:transition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245467" y="1705968"/>
            <a:ext cx="2660904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60904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112933" y="1705968"/>
            <a:ext cx="2660904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5467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112933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707645803"/>
      </p:ext>
    </p:extLst>
  </p:cSld>
  <p:clrMapOvr>
    <a:masterClrMapping/>
  </p:clrMapOvr>
  <p:transition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129625804"/>
      </p:ext>
    </p:extLst>
  </p:cSld>
  <p:clrMapOvr>
    <a:masterClrMapping/>
  </p:clrMapOvr>
  <p:transition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7" y="1665288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3418660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1" y="1658680"/>
            <a:ext cx="3084351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551773103"/>
      </p:ext>
    </p:extLst>
  </p:cSld>
  <p:clrMapOvr>
    <a:masterClrMapping/>
  </p:clrMapOvr>
  <p:transition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76042504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3251264"/>
      </p:ext>
    </p:extLst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9"/>
            <a:ext cx="8388000" cy="360363"/>
          </a:xfrm>
        </p:spPr>
        <p:txBody>
          <a:bodyPr>
            <a:normAutofit/>
          </a:bodyPr>
          <a:lstStyle>
            <a:lvl1pPr marL="0" indent="0">
              <a:buNone/>
              <a:defRPr sz="1292" b="0" baseline="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70800" y="1803543"/>
            <a:ext cx="8388000" cy="4536000"/>
          </a:xfrm>
        </p:spPr>
        <p:txBody>
          <a:bodyPr/>
          <a:lstStyle>
            <a:lvl1pPr marL="0" indent="0">
              <a:buNone/>
              <a:defRPr/>
            </a:lvl1pPr>
            <a:lvl2pPr marL="246191" indent="-246191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9330" y="6601717"/>
            <a:ext cx="7559473" cy="252000"/>
          </a:xfrm>
          <a:prstGeom prst="rect">
            <a:avLst/>
          </a:prstGeom>
        </p:spPr>
        <p:txBody>
          <a:bodyPr vert="horz" lIns="36000" tIns="0" rIns="0" bIns="0" rtlCol="0" anchor="ctr" anchorCtr="0"/>
          <a:lstStyle>
            <a:lvl1pPr algn="r">
              <a:defRPr sz="738" b="0">
                <a:solidFill>
                  <a:srgbClr val="8C8C8C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70800" y="6601717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38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171403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7" y="3108509"/>
            <a:ext cx="2029968" cy="3264408"/>
          </a:xfrm>
        </p:spPr>
        <p:txBody>
          <a:bodyPr/>
          <a:lstStyle>
            <a:lvl1pPr marL="0" indent="0" algn="l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21995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9116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5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7" y="651600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0695225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lang="en-US" noProof="0" dirty="0" smtClean="0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lang="en-US" noProof="0" dirty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6888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6888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12717912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3"/>
            <a:ext cx="27432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30199" y="1700213"/>
            <a:ext cx="27432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3218" y="1700213"/>
            <a:ext cx="27432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8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3219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30199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3295698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2F65FA80-C476-482C-A6BC-3B51F3F3FCB3}"/>
              </a:ext>
            </a:extLst>
          </p:cNvPr>
          <p:cNvSpPr txBox="1"/>
          <p:nvPr userDrawn="1"/>
        </p:nvSpPr>
        <p:spPr>
          <a:xfrm>
            <a:off x="376237" y="6732190"/>
            <a:ext cx="4016376" cy="20126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400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© 2018 Deloitte Consulting LLP. All rights reserved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4777CF-ED07-4D85-B409-1E5751706BF3}"/>
              </a:ext>
            </a:extLst>
          </p:cNvPr>
          <p:cNvSpPr txBox="1"/>
          <p:nvPr userDrawn="1"/>
        </p:nvSpPr>
        <p:spPr>
          <a:xfrm>
            <a:off x="8536782" y="6721557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44263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5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8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2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6566077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81960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81960" y="1705378"/>
            <a:ext cx="409651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9651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48037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81960" y="424968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6" y="424968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81960" y="4103518"/>
            <a:ext cx="409651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84646" y="4103518"/>
            <a:ext cx="409651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48936" y="4255706"/>
            <a:ext cx="929536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8038" y="4249682"/>
            <a:ext cx="93312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81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0817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9537293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ircl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112932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245467" y="1705968"/>
            <a:ext cx="2660904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60904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112933" y="1705968"/>
            <a:ext cx="2660904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5467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112933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05427550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02148341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7" y="1665288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88989661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aseCode">
            <a:extLst>
              <a:ext uri="{FF2B5EF4-FFF2-40B4-BE49-F238E27FC236}">
                <a16:creationId xmlns:a16="http://schemas.microsoft.com/office/drawing/2014/main" id="{4D712FEC-A9D5-4BB6-9DC6-0FFAB56DBB9F}"/>
              </a:ext>
            </a:extLst>
          </p:cNvPr>
          <p:cNvSpPr txBox="1"/>
          <p:nvPr userDrawn="1"/>
        </p:nvSpPr>
        <p:spPr>
          <a:xfrm>
            <a:off x="4751388" y="6732189"/>
            <a:ext cx="3672420" cy="20005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r" defTabSz="914400" rtl="0" eaLnBrk="1" latinLnBrk="0" hangingPunct="1">
              <a:spcBef>
                <a:spcPts val="0"/>
              </a:spcBef>
              <a:buSzPct val="100000"/>
              <a:buFontTx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Sentry – Non-Standard Auto Market Analysis</a:t>
            </a: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73FE9EA1-1983-4E5A-8387-817646DF851E}"/>
              </a:ext>
            </a:extLst>
          </p:cNvPr>
          <p:cNvSpPr txBox="1"/>
          <p:nvPr userDrawn="1"/>
        </p:nvSpPr>
        <p:spPr>
          <a:xfrm>
            <a:off x="376237" y="6732190"/>
            <a:ext cx="4016376" cy="20126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400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© 2018 Deloitte Consulting LLP. All rights reserved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5DACD72-3E88-4C33-9427-53237B5030F2}"/>
              </a:ext>
            </a:extLst>
          </p:cNvPr>
          <p:cNvSpPr txBox="1"/>
          <p:nvPr userDrawn="1"/>
        </p:nvSpPr>
        <p:spPr>
          <a:xfrm>
            <a:off x="8536782" y="6721557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839555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537572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20087" y="137197"/>
            <a:ext cx="8503827" cy="5486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53590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/>
          </p:nvPr>
        </p:nvSpPr>
        <p:spPr>
          <a:xfrm>
            <a:off x="36576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466344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095818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5" y="381004"/>
            <a:ext cx="8164287" cy="366713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725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9889" y="883949"/>
            <a:ext cx="8164512" cy="466725"/>
          </a:xfrm>
        </p:spPr>
        <p:txBody>
          <a:bodyPr/>
          <a:lstStyle>
            <a:lvl1pPr>
              <a:defRPr>
                <a:solidFill>
                  <a:srgbClr val="31313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584633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gray">
          <a:xfrm>
            <a:off x="585788" y="774700"/>
            <a:ext cx="7972425" cy="479583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90000" rIns="90000" bIns="90000" anchor="ctr"/>
          <a:lstStyle>
            <a:lvl1pPr marL="119063" indent="-119063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altLang="en-US" sz="11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5" name="Picture 5" descr="LLP logo with big space copy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5" t="1778" b="59770"/>
          <a:stretch>
            <a:fillRect/>
          </a:stretch>
        </p:blipFill>
        <p:spPr bwMode="gray">
          <a:xfrm>
            <a:off x="895350" y="6026150"/>
            <a:ext cx="14446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9"/>
          <p:cNvSpPr txBox="1">
            <a:spLocks noChangeArrowheads="1"/>
          </p:cNvSpPr>
          <p:nvPr/>
        </p:nvSpPr>
        <p:spPr bwMode="gray">
          <a:xfrm>
            <a:off x="892175" y="4756150"/>
            <a:ext cx="15859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0" dirty="0">
                <a:solidFill>
                  <a:srgbClr val="000000"/>
                </a:solidFill>
                <a:cs typeface="Arial" charset="0"/>
              </a:rPr>
              <a:t>Deloitte Consulting LLP</a:t>
            </a: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892175" y="2581275"/>
            <a:ext cx="6581775" cy="549275"/>
          </a:xfrm>
        </p:spPr>
        <p:txBody>
          <a:bodyPr/>
          <a:lstStyle>
            <a:lvl1pPr>
              <a:lnSpc>
                <a:spcPts val="2200"/>
              </a:lnSpc>
              <a:spcBef>
                <a:spcPct val="10000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1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0074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92175" y="3402013"/>
            <a:ext cx="6583363" cy="439737"/>
          </a:xfrm>
          <a:ln/>
        </p:spPr>
        <p:txBody>
          <a:bodyPr/>
          <a:lstStyle>
            <a:lvl1pPr>
              <a:lnSpc>
                <a:spcPts val="1600"/>
              </a:lnSpc>
              <a:spcBef>
                <a:spcPct val="15000"/>
              </a:spcBef>
              <a:buClrTx/>
              <a:buNone/>
              <a:defRPr sz="1400" b="1"/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7020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ief Prefator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2"/>
          <p:cNvSpPr txBox="1">
            <a:spLocks noChangeArrowheads="1"/>
          </p:cNvSpPr>
          <p:nvPr userDrawn="1"/>
        </p:nvSpPr>
        <p:spPr bwMode="gray">
          <a:xfrm>
            <a:off x="1741488" y="2365375"/>
            <a:ext cx="5634037" cy="2487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3152" rIns="0" bIns="73152"/>
          <a:lstStyle>
            <a:lvl1pPr>
              <a:defRPr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charset="0"/>
              </a:defRPr>
            </a:lvl9pPr>
          </a:lstStyle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746504" y="2368296"/>
            <a:ext cx="5632704" cy="2487168"/>
          </a:xfrm>
        </p:spPr>
        <p:txBody>
          <a:bodyPr tIns="73152" bIns="73152"/>
          <a:lstStyle>
            <a:lvl1pPr eaLnBrk="1" hangingPunct="1">
              <a:spcBef>
                <a:spcPct val="8000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/>
            </a:lvl1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54024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irc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9" name="CaseCode">
            <a:extLst>
              <a:ext uri="{FF2B5EF4-FFF2-40B4-BE49-F238E27FC236}">
                <a16:creationId xmlns:a16="http://schemas.microsoft.com/office/drawing/2014/main" id="{461689B8-CEA2-406B-81E0-C5568DA3AC8B}"/>
              </a:ext>
            </a:extLst>
          </p:cNvPr>
          <p:cNvSpPr txBox="1"/>
          <p:nvPr userDrawn="1"/>
        </p:nvSpPr>
        <p:spPr>
          <a:xfrm>
            <a:off x="4751388" y="6732189"/>
            <a:ext cx="3672420" cy="20005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r" defTabSz="914400" rtl="0" eaLnBrk="1" latinLnBrk="0" hangingPunct="1">
              <a:spcBef>
                <a:spcPts val="0"/>
              </a:spcBef>
              <a:buSzPct val="100000"/>
              <a:buFontTx/>
              <a:buNone/>
            </a:pPr>
            <a:endParaRPr lang="en-US" sz="65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84D7A362-4940-44A5-8EE5-B41E87DAED3E}"/>
              </a:ext>
            </a:extLst>
          </p:cNvPr>
          <p:cNvSpPr txBox="1"/>
          <p:nvPr userDrawn="1"/>
        </p:nvSpPr>
        <p:spPr>
          <a:xfrm>
            <a:off x="376237" y="6732190"/>
            <a:ext cx="4016376" cy="20126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400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© 2018 Deloitte Consulting LLP. All rights reserved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F705A94-3D9A-460A-9CD4-24EA4F71A7EA}"/>
              </a:ext>
            </a:extLst>
          </p:cNvPr>
          <p:cNvSpPr txBox="1"/>
          <p:nvPr userDrawn="1"/>
        </p:nvSpPr>
        <p:spPr>
          <a:xfrm>
            <a:off x="8536782" y="6721557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132681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er Introductor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 userDrawn="1"/>
        </p:nvSpPr>
        <p:spPr bwMode="gray">
          <a:xfrm>
            <a:off x="392113" y="1154113"/>
            <a:ext cx="4014787" cy="5135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anose="05000000000000000000" pitchFamily="2" charset="2"/>
              <a:buNone/>
            </a:pPr>
            <a:endParaRPr lang="en-US" altLang="en-US" sz="1000" b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4014216" cy="51389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736592" y="1152144"/>
            <a:ext cx="4014216" cy="51389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838689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5"/>
          <p:cNvSpPr>
            <a:spLocks noChangeShapeType="1"/>
          </p:cNvSpPr>
          <p:nvPr userDrawn="1"/>
        </p:nvSpPr>
        <p:spPr bwMode="gray">
          <a:xfrm>
            <a:off x="392113" y="806450"/>
            <a:ext cx="835501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92" y="514350"/>
            <a:ext cx="8345487" cy="2587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4014216" cy="5138928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  <a:lvl2pPr>
              <a:defRPr/>
            </a:lvl2pPr>
            <a:lvl3pPr>
              <a:buNone/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298611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2"/>
          <p:cNvSpPr txBox="1">
            <a:spLocks noChangeArrowheads="1"/>
          </p:cNvSpPr>
          <p:nvPr userDrawn="1"/>
        </p:nvSpPr>
        <p:spPr bwMode="gray">
          <a:xfrm>
            <a:off x="1741488" y="2365375"/>
            <a:ext cx="5634037" cy="2487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3152" rIns="0" bIns="73152"/>
          <a:lstStyle>
            <a:lvl1pPr>
              <a:defRPr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charset="0"/>
              </a:defRPr>
            </a:lvl9pPr>
          </a:lstStyle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gray">
          <a:xfrm>
            <a:off x="2478088" y="2136775"/>
            <a:ext cx="4167187" cy="2286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cap="rnd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b" anchorCtr="1"/>
          <a:lstStyle>
            <a:lvl1pPr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endParaRPr lang="en-US" altLang="en-US" sz="14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889504" y="3081528"/>
            <a:ext cx="3346704" cy="256032"/>
          </a:xfrm>
          <a:solidFill>
            <a:schemeClr val="bg1"/>
          </a:solidFill>
        </p:spPr>
        <p:txBody>
          <a:bodyPr lIns="73152" rIns="73152" anchor="ctr" anchorCtr="1"/>
          <a:lstStyle>
            <a:lvl1pPr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817644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gray">
          <a:xfrm>
            <a:off x="392113" y="1154113"/>
            <a:ext cx="4014787" cy="5135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anose="05000000000000000000" pitchFamily="2" charset="2"/>
              <a:buNone/>
            </a:pPr>
            <a:endParaRPr lang="en-US" altLang="en-US" sz="1000" b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4014216" cy="5138928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  <a:lvl2pPr>
              <a:defRPr/>
            </a:lvl2pPr>
            <a:lvl3pPr>
              <a:buNone/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736592" y="1152144"/>
            <a:ext cx="4014216" cy="5138928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93192" y="256032"/>
            <a:ext cx="8348472" cy="521208"/>
          </a:xfrm>
          <a:solidFill>
            <a:srgbClr val="FFFFFF"/>
          </a:solidFill>
        </p:spPr>
        <p:txBody>
          <a:bodyPr anchor="b"/>
          <a:lstStyle>
            <a:lvl1pPr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34910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with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gray">
          <a:xfrm>
            <a:off x="392113" y="1154113"/>
            <a:ext cx="4014787" cy="5135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anose="05000000000000000000" pitchFamily="2" charset="2"/>
              <a:buNone/>
            </a:pPr>
            <a:endParaRPr lang="en-US" altLang="en-US" sz="1000" b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4014216" cy="5138928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736592" y="1152144"/>
            <a:ext cx="4014216" cy="5138928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93192" y="256032"/>
            <a:ext cx="8348472" cy="521208"/>
          </a:xfrm>
          <a:solidFill>
            <a:srgbClr val="FFFFFF"/>
          </a:solidFill>
        </p:spPr>
        <p:txBody>
          <a:bodyPr anchor="b"/>
          <a:lstStyle>
            <a:lvl1pPr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35452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 userDrawn="1"/>
        </p:nvSpPr>
        <p:spPr bwMode="gray">
          <a:xfrm>
            <a:off x="392113" y="1154113"/>
            <a:ext cx="4014787" cy="5135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anose="05000000000000000000" pitchFamily="2" charset="2"/>
              <a:buNone/>
            </a:pPr>
            <a:endParaRPr lang="en-US" altLang="en-US" sz="1000" b="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8352346" cy="5138928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93192" y="256032"/>
            <a:ext cx="8348472" cy="521208"/>
          </a:xfrm>
          <a:solidFill>
            <a:srgbClr val="FFFFFF"/>
          </a:solidFill>
        </p:spPr>
        <p:txBody>
          <a:bodyPr anchor="b"/>
          <a:lstStyle>
            <a:lvl1pPr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104849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with paragraph, dash,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736592" y="1399032"/>
            <a:ext cx="4014216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399032"/>
            <a:ext cx="4014216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0880909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- 3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255264" y="1399032"/>
            <a:ext cx="2606040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399032"/>
            <a:ext cx="2606040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6126480" y="1399032"/>
            <a:ext cx="2606040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0958312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-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399032"/>
            <a:ext cx="4014216" cy="2057400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736592" y="1399032"/>
            <a:ext cx="4014216" cy="2057400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393192" y="4041648"/>
            <a:ext cx="4005072" cy="2057400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4736592" y="4041648"/>
            <a:ext cx="4005072" cy="2057400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0201882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- 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399032"/>
            <a:ext cx="2606040" cy="2249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3255264" y="1399032"/>
            <a:ext cx="2606040" cy="2249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2"/>
          </p:nvPr>
        </p:nvSpPr>
        <p:spPr>
          <a:xfrm>
            <a:off x="6126480" y="1399032"/>
            <a:ext cx="2606040" cy="2249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4041839"/>
            <a:ext cx="2606040" cy="2249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3255264" y="4041839"/>
            <a:ext cx="2606040" cy="2249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6126480" y="4041839"/>
            <a:ext cx="2606040" cy="2249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832590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2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89271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ic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374696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jor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66544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66544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2066544" y="3858768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2"/>
          </p:nvPr>
        </p:nvSpPr>
        <p:spPr>
          <a:xfrm>
            <a:off x="2066544" y="520293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5577840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4"/>
          </p:nvPr>
        </p:nvSpPr>
        <p:spPr>
          <a:xfrm>
            <a:off x="5577840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25"/>
          </p:nvPr>
        </p:nvSpPr>
        <p:spPr>
          <a:xfrm>
            <a:off x="5577840" y="3858768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4"/>
          <p:cNvSpPr>
            <a:spLocks noGrp="1"/>
          </p:cNvSpPr>
          <p:nvPr>
            <p:ph type="body" sz="quarter" idx="26"/>
          </p:nvPr>
        </p:nvSpPr>
        <p:spPr>
          <a:xfrm>
            <a:off x="5577840" y="520293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923357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# points - 5 points 2 columns/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795528" y="1289304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965192" y="1289304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95528" y="2368296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4965192" y="2368296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1"/>
          </p:nvPr>
        </p:nvSpPr>
        <p:spPr>
          <a:xfrm>
            <a:off x="795528" y="3456432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795528" y="4535424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795528" y="5614416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27"/>
          </p:nvPr>
        </p:nvSpPr>
        <p:spPr>
          <a:xfrm>
            <a:off x="4965192" y="3456432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15"/>
          <p:cNvSpPr>
            <a:spLocks noGrp="1"/>
          </p:cNvSpPr>
          <p:nvPr>
            <p:ph type="body" sz="quarter" idx="29"/>
          </p:nvPr>
        </p:nvSpPr>
        <p:spPr>
          <a:xfrm>
            <a:off x="4965192" y="4535424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1"/>
          </p:nvPr>
        </p:nvSpPr>
        <p:spPr>
          <a:xfrm>
            <a:off x="4965192" y="5614416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0993481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# points - 5 point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795528" y="1289304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5138928" y="1289304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95528" y="2368296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5138928" y="2368296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1"/>
          </p:nvPr>
        </p:nvSpPr>
        <p:spPr>
          <a:xfrm>
            <a:off x="795528" y="3456432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769875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utlined i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2496312" y="1243584"/>
            <a:ext cx="2048256" cy="2103120"/>
          </a:xfr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73152" tIns="182880" rIns="73152" bIns="73152"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243584"/>
            <a:ext cx="2048256" cy="2103120"/>
          </a:xfr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73152" tIns="182880" rIns="73152" bIns="73152"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599432" y="1243584"/>
            <a:ext cx="2048256" cy="2103120"/>
          </a:xfr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73152" tIns="182880" rIns="73152" bIns="73152"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6702552" y="1243584"/>
            <a:ext cx="2048256" cy="2103120"/>
          </a:xfr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73152" tIns="182880" rIns="73152" bIns="73152"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3585670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evrons with text boxes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828800"/>
            <a:ext cx="2039112" cy="159105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2432304" y="1828800"/>
            <a:ext cx="2039112" cy="159105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2"/>
          </p:nvPr>
        </p:nvSpPr>
        <p:spPr>
          <a:xfrm>
            <a:off x="4462272" y="1828800"/>
            <a:ext cx="2039112" cy="159105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4709160"/>
            <a:ext cx="4005072" cy="159105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4709160"/>
            <a:ext cx="4005072" cy="159105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6501384" y="1828800"/>
            <a:ext cx="2039112" cy="159105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2900603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736592" y="1399032"/>
            <a:ext cx="4005072" cy="225856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4736592" y="4041648"/>
            <a:ext cx="4005072" cy="225856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9471615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- 3/slid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93192" y="4270248"/>
            <a:ext cx="2633472" cy="202996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3259836" y="4270248"/>
            <a:ext cx="2633472" cy="202996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6126480" y="4270248"/>
            <a:ext cx="2633472" cy="202996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744087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- 2/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93192" y="4864608"/>
            <a:ext cx="4005072" cy="108813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4736592" y="4864608"/>
            <a:ext cx="4005072" cy="108813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7084714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nt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93192" y="1709928"/>
            <a:ext cx="3035808" cy="4434840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61668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864277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6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563161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chelangelo (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2898648"/>
            <a:ext cx="4014216" cy="339242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2898648"/>
            <a:ext cx="4014216" cy="339242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185753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chelangelo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1152144"/>
            <a:ext cx="4014216" cy="513892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5147174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me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2697480"/>
            <a:ext cx="4005072" cy="334670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2697480"/>
            <a:ext cx="4005072" cy="334670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1444752" y="1399032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1" i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6"/>
          </p:nvPr>
        </p:nvSpPr>
        <p:spPr>
          <a:xfrm>
            <a:off x="5788152" y="1399032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1" i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5058000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mes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2697480"/>
            <a:ext cx="4005072" cy="102412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2697480"/>
            <a:ext cx="4005072" cy="102412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1444752" y="1399032"/>
            <a:ext cx="2944368" cy="432426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 i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6"/>
          </p:nvPr>
        </p:nvSpPr>
        <p:spPr>
          <a:xfrm>
            <a:off x="5788152" y="1399032"/>
            <a:ext cx="2944368" cy="432426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 i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9"/>
          </p:nvPr>
        </p:nvSpPr>
        <p:spPr>
          <a:xfrm>
            <a:off x="393192" y="5202936"/>
            <a:ext cx="4005072" cy="102412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30"/>
          </p:nvPr>
        </p:nvSpPr>
        <p:spPr>
          <a:xfrm>
            <a:off x="4736592" y="5202936"/>
            <a:ext cx="4005072" cy="102412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3"/>
          </p:nvPr>
        </p:nvSpPr>
        <p:spPr>
          <a:xfrm>
            <a:off x="1444752" y="3904488"/>
            <a:ext cx="2944368" cy="432426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 i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34"/>
          </p:nvPr>
        </p:nvSpPr>
        <p:spPr>
          <a:xfrm>
            <a:off x="5788152" y="3904488"/>
            <a:ext cx="2944368" cy="432426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 i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9390011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mes -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1344168" y="1097280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6"/>
          </p:nvPr>
        </p:nvSpPr>
        <p:spPr>
          <a:xfrm>
            <a:off x="5669280" y="1097280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3"/>
          </p:nvPr>
        </p:nvSpPr>
        <p:spPr>
          <a:xfrm>
            <a:off x="1344168" y="2414016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34"/>
          </p:nvPr>
        </p:nvSpPr>
        <p:spPr>
          <a:xfrm>
            <a:off x="5678424" y="2414016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37"/>
          </p:nvPr>
        </p:nvSpPr>
        <p:spPr>
          <a:xfrm>
            <a:off x="1344168" y="3739896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5788152" y="3739896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1344168" y="5056632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42"/>
          </p:nvPr>
        </p:nvSpPr>
        <p:spPr>
          <a:xfrm>
            <a:off x="5678424" y="5056632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1373718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-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399032"/>
            <a:ext cx="4014216" cy="220370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736592" y="1399032"/>
            <a:ext cx="4014216" cy="220370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393192" y="4041648"/>
            <a:ext cx="4014216" cy="220370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4736592" y="4041648"/>
            <a:ext cx="4014216" cy="220370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6833200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108979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7"/>
          <p:cNvSpPr txBox="1">
            <a:spLocks/>
          </p:cNvSpPr>
          <p:nvPr userDrawn="1"/>
        </p:nvSpPr>
        <p:spPr bwMode="auto">
          <a:xfrm>
            <a:off x="792163" y="1177925"/>
            <a:ext cx="4005262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b="1">
                <a:solidFill>
                  <a:schemeClr val="bg1"/>
                </a:solidFill>
                <a:latin typeface="Arial" charset="0"/>
              </a:defRPr>
            </a:lvl1pPr>
            <a:lvl2pPr marL="169863" indent="-168275">
              <a:defRPr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charset="0"/>
              </a:defRPr>
            </a:lvl9pPr>
          </a:lstStyle>
          <a:p>
            <a:pPr lvl="1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Font typeface="Wingdings 2" pitchFamily="18" charset="2"/>
              <a:buChar char="¡"/>
              <a:defRPr/>
            </a:pPr>
            <a:r>
              <a:rPr lang="en-US" sz="1100" b="0" dirty="0">
                <a:solidFill>
                  <a:srgbClr val="000000"/>
                </a:solidFill>
                <a:cs typeface="Arial" charset="0"/>
              </a:rPr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170273825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jor Points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66544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66544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2066544" y="3858768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5577840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4"/>
          </p:nvPr>
        </p:nvSpPr>
        <p:spPr>
          <a:xfrm>
            <a:off x="5577840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25"/>
          </p:nvPr>
        </p:nvSpPr>
        <p:spPr>
          <a:xfrm>
            <a:off x="5577840" y="3858768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228798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jor Point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66544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66544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5577840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4"/>
          </p:nvPr>
        </p:nvSpPr>
        <p:spPr>
          <a:xfrm>
            <a:off x="5577840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5085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7200"/>
            <a:ext cx="6958012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6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621493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jor Point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66544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5577840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01883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Major Points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45278" y="1144470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45278" y="2479494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537134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Major Points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45278" y="1144470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45278" y="2479494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2045278" y="3814518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194862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Major Points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45278" y="1144470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45278" y="2479494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2045278" y="3814518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4"/>
          <p:cNvSpPr>
            <a:spLocks noGrp="1"/>
          </p:cNvSpPr>
          <p:nvPr>
            <p:ph type="body" sz="quarter" idx="22"/>
          </p:nvPr>
        </p:nvSpPr>
        <p:spPr>
          <a:xfrm>
            <a:off x="2048822" y="5158686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457805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719624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348148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259683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ircl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444291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irc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63115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2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159789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6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5824996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864277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6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06270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7200"/>
            <a:ext cx="6958012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6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626299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6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562406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Copyright © 2016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550441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0670965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6958012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6729413" algn="r"/>
              </a:tabLst>
              <a:defRPr/>
            </a:lvl1pPr>
            <a:lvl2pPr marL="127000" indent="-127000">
              <a:tabLst>
                <a:tab pos="6729413" algn="r"/>
              </a:tabLst>
              <a:defRPr/>
            </a:lvl2pPr>
            <a:lvl3pPr marL="279400" indent="-127000">
              <a:tabLst>
                <a:tab pos="6729413" algn="r"/>
              </a:tabLst>
              <a:defRPr/>
            </a:lvl3pPr>
            <a:lvl4pPr marL="431800" indent="-127000">
              <a:tabLst>
                <a:tab pos="6729413" algn="r"/>
              </a:tabLst>
              <a:defRPr/>
            </a:lvl4pPr>
            <a:lvl5pPr marL="584200" indent="-127000"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88724825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22943194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47055018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3027526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38933909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6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6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499536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39" y="2051999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9" y="1665289"/>
            <a:ext cx="8391524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5306826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7" y="1665289"/>
            <a:ext cx="2671763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8" y="1665289"/>
            <a:ext cx="267121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7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7" y="1659145"/>
            <a:ext cx="2672966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7232363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71070192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52201933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53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8"/>
            <a:ext cx="4016374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5" y="2125013"/>
            <a:ext cx="4011847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82118665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68824" y="2125013"/>
            <a:ext cx="4206240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6" y="1665288"/>
            <a:ext cx="4011847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265735" y="2125013"/>
            <a:ext cx="4206240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5376390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91524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3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658450664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1" y="1658680"/>
            <a:ext cx="3084351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37800722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7" y="3108509"/>
            <a:ext cx="2029968" cy="3264408"/>
          </a:xfrm>
        </p:spPr>
        <p:txBody>
          <a:bodyPr/>
          <a:lstStyle>
            <a:lvl1pPr marL="0" indent="0" algn="l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21995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9116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5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7" y="651600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726574895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lang="en-US" noProof="0" dirty="0" smtClean="0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lang="en-US" noProof="0" dirty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6888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6888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2455204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9" Type="http://schemas.openxmlformats.org/officeDocument/2006/relationships/image" Target="../media/image3.png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34" Type="http://schemas.openxmlformats.org/officeDocument/2006/relationships/slideLayout" Target="../slideLayouts/slideLayout71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slideLayout" Target="../slideLayouts/slideLayout70.xml"/><Relationship Id="rId38" Type="http://schemas.openxmlformats.org/officeDocument/2006/relationships/theme" Target="../theme/theme2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slideLayout" Target="../slideLayouts/slideLayout69.xml"/><Relationship Id="rId37" Type="http://schemas.openxmlformats.org/officeDocument/2006/relationships/slideLayout" Target="../slideLayouts/slideLayout74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68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Relationship Id="rId35" Type="http://schemas.openxmlformats.org/officeDocument/2006/relationships/slideLayout" Target="../slideLayouts/slideLayout7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9" Type="http://schemas.openxmlformats.org/officeDocument/2006/relationships/oleObject" Target="../embeddings/oleObject3.bin"/><Relationship Id="rId3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95.xml"/><Relationship Id="rId34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slideLayout" Target="../slideLayouts/slideLayout107.xml"/><Relationship Id="rId38" Type="http://schemas.openxmlformats.org/officeDocument/2006/relationships/tags" Target="../tags/tag3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slideLayout" Target="../slideLayouts/slideLayout106.xml"/><Relationship Id="rId37" Type="http://schemas.openxmlformats.org/officeDocument/2006/relationships/vmlDrawing" Target="../drawings/vmlDrawing3.v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slideLayout" Target="../slideLayouts/slideLayout104.xml"/><Relationship Id="rId35" Type="http://schemas.openxmlformats.org/officeDocument/2006/relationships/slideLayout" Target="../slideLayouts/slideLayout10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slideLayout" Target="../slideLayouts/slideLayout122.xml"/><Relationship Id="rId18" Type="http://schemas.openxmlformats.org/officeDocument/2006/relationships/slideLayout" Target="../slideLayouts/slideLayout127.xml"/><Relationship Id="rId26" Type="http://schemas.openxmlformats.org/officeDocument/2006/relationships/slideLayout" Target="../slideLayouts/slideLayout135.xml"/><Relationship Id="rId39" Type="http://schemas.openxmlformats.org/officeDocument/2006/relationships/slideLayout" Target="../slideLayouts/slideLayout148.xml"/><Relationship Id="rId3" Type="http://schemas.openxmlformats.org/officeDocument/2006/relationships/slideLayout" Target="../slideLayouts/slideLayout112.xml"/><Relationship Id="rId21" Type="http://schemas.openxmlformats.org/officeDocument/2006/relationships/slideLayout" Target="../slideLayouts/slideLayout130.xml"/><Relationship Id="rId34" Type="http://schemas.openxmlformats.org/officeDocument/2006/relationships/slideLayout" Target="../slideLayouts/slideLayout143.xml"/><Relationship Id="rId42" Type="http://schemas.openxmlformats.org/officeDocument/2006/relationships/image" Target="../media/image3.png"/><Relationship Id="rId7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25" Type="http://schemas.openxmlformats.org/officeDocument/2006/relationships/slideLayout" Target="../slideLayouts/slideLayout134.xml"/><Relationship Id="rId33" Type="http://schemas.openxmlformats.org/officeDocument/2006/relationships/slideLayout" Target="../slideLayouts/slideLayout142.xml"/><Relationship Id="rId38" Type="http://schemas.openxmlformats.org/officeDocument/2006/relationships/slideLayout" Target="../slideLayouts/slideLayout147.xml"/><Relationship Id="rId2" Type="http://schemas.openxmlformats.org/officeDocument/2006/relationships/slideLayout" Target="../slideLayouts/slideLayout111.xml"/><Relationship Id="rId16" Type="http://schemas.openxmlformats.org/officeDocument/2006/relationships/slideLayout" Target="../slideLayouts/slideLayout125.xml"/><Relationship Id="rId20" Type="http://schemas.openxmlformats.org/officeDocument/2006/relationships/slideLayout" Target="../slideLayouts/slideLayout129.xml"/><Relationship Id="rId29" Type="http://schemas.openxmlformats.org/officeDocument/2006/relationships/slideLayout" Target="../slideLayouts/slideLayout138.xml"/><Relationship Id="rId41" Type="http://schemas.openxmlformats.org/officeDocument/2006/relationships/theme" Target="../theme/theme4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24" Type="http://schemas.openxmlformats.org/officeDocument/2006/relationships/slideLayout" Target="../slideLayouts/slideLayout133.xml"/><Relationship Id="rId32" Type="http://schemas.openxmlformats.org/officeDocument/2006/relationships/slideLayout" Target="../slideLayouts/slideLayout141.xml"/><Relationship Id="rId37" Type="http://schemas.openxmlformats.org/officeDocument/2006/relationships/slideLayout" Target="../slideLayouts/slideLayout146.xml"/><Relationship Id="rId40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14.xml"/><Relationship Id="rId15" Type="http://schemas.openxmlformats.org/officeDocument/2006/relationships/slideLayout" Target="../slideLayouts/slideLayout124.xml"/><Relationship Id="rId23" Type="http://schemas.openxmlformats.org/officeDocument/2006/relationships/slideLayout" Target="../slideLayouts/slideLayout132.xml"/><Relationship Id="rId28" Type="http://schemas.openxmlformats.org/officeDocument/2006/relationships/slideLayout" Target="../slideLayouts/slideLayout137.xml"/><Relationship Id="rId36" Type="http://schemas.openxmlformats.org/officeDocument/2006/relationships/slideLayout" Target="../slideLayouts/slideLayout145.xml"/><Relationship Id="rId10" Type="http://schemas.openxmlformats.org/officeDocument/2006/relationships/slideLayout" Target="../slideLayouts/slideLayout119.xml"/><Relationship Id="rId19" Type="http://schemas.openxmlformats.org/officeDocument/2006/relationships/slideLayout" Target="../slideLayouts/slideLayout128.xml"/><Relationship Id="rId31" Type="http://schemas.openxmlformats.org/officeDocument/2006/relationships/slideLayout" Target="../slideLayouts/slideLayout140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slideLayout" Target="../slideLayouts/slideLayout123.xml"/><Relationship Id="rId22" Type="http://schemas.openxmlformats.org/officeDocument/2006/relationships/slideLayout" Target="../slideLayouts/slideLayout131.xml"/><Relationship Id="rId27" Type="http://schemas.openxmlformats.org/officeDocument/2006/relationships/slideLayout" Target="../slideLayouts/slideLayout136.xml"/><Relationship Id="rId30" Type="http://schemas.openxmlformats.org/officeDocument/2006/relationships/slideLayout" Target="../slideLayouts/slideLayout139.xml"/><Relationship Id="rId35" Type="http://schemas.openxmlformats.org/officeDocument/2006/relationships/slideLayout" Target="../slideLayouts/slideLayout144.xml"/><Relationship Id="rId43" Type="http://schemas.openxmlformats.org/officeDocument/2006/relationships/image" Target="../media/image5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slideLayout" Target="../slideLayouts/slideLayout161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image" Target="../media/image8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9.xml"/><Relationship Id="rId13" Type="http://schemas.openxmlformats.org/officeDocument/2006/relationships/slideLayout" Target="../slideLayouts/slideLayout174.xml"/><Relationship Id="rId18" Type="http://schemas.openxmlformats.org/officeDocument/2006/relationships/slideLayout" Target="../slideLayouts/slideLayout179.xml"/><Relationship Id="rId26" Type="http://schemas.openxmlformats.org/officeDocument/2006/relationships/slideLayout" Target="../slideLayouts/slideLayout187.xml"/><Relationship Id="rId39" Type="http://schemas.openxmlformats.org/officeDocument/2006/relationships/tags" Target="../tags/tag5.xml"/><Relationship Id="rId3" Type="http://schemas.openxmlformats.org/officeDocument/2006/relationships/slideLayout" Target="../slideLayouts/slideLayout164.xml"/><Relationship Id="rId21" Type="http://schemas.openxmlformats.org/officeDocument/2006/relationships/slideLayout" Target="../slideLayouts/slideLayout182.xml"/><Relationship Id="rId34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68.xml"/><Relationship Id="rId12" Type="http://schemas.openxmlformats.org/officeDocument/2006/relationships/slideLayout" Target="../slideLayouts/slideLayout173.xml"/><Relationship Id="rId17" Type="http://schemas.openxmlformats.org/officeDocument/2006/relationships/slideLayout" Target="../slideLayouts/slideLayout178.xml"/><Relationship Id="rId25" Type="http://schemas.openxmlformats.org/officeDocument/2006/relationships/slideLayout" Target="../slideLayouts/slideLayout186.xml"/><Relationship Id="rId33" Type="http://schemas.openxmlformats.org/officeDocument/2006/relationships/slideLayout" Target="../slideLayouts/slideLayout194.xml"/><Relationship Id="rId38" Type="http://schemas.openxmlformats.org/officeDocument/2006/relationships/vmlDrawing" Target="../drawings/vmlDrawing5.vml"/><Relationship Id="rId2" Type="http://schemas.openxmlformats.org/officeDocument/2006/relationships/slideLayout" Target="../slideLayouts/slideLayout163.xml"/><Relationship Id="rId16" Type="http://schemas.openxmlformats.org/officeDocument/2006/relationships/slideLayout" Target="../slideLayouts/slideLayout177.xml"/><Relationship Id="rId20" Type="http://schemas.openxmlformats.org/officeDocument/2006/relationships/slideLayout" Target="../slideLayouts/slideLayout181.xml"/><Relationship Id="rId29" Type="http://schemas.openxmlformats.org/officeDocument/2006/relationships/slideLayout" Target="../slideLayouts/slideLayout190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72.xml"/><Relationship Id="rId24" Type="http://schemas.openxmlformats.org/officeDocument/2006/relationships/slideLayout" Target="../slideLayouts/slideLayout185.xml"/><Relationship Id="rId32" Type="http://schemas.openxmlformats.org/officeDocument/2006/relationships/slideLayout" Target="../slideLayouts/slideLayout193.xml"/><Relationship Id="rId37" Type="http://schemas.openxmlformats.org/officeDocument/2006/relationships/theme" Target="../theme/theme6.xml"/><Relationship Id="rId40" Type="http://schemas.openxmlformats.org/officeDocument/2006/relationships/oleObject" Target="../embeddings/oleObject5.bin"/><Relationship Id="rId5" Type="http://schemas.openxmlformats.org/officeDocument/2006/relationships/slideLayout" Target="../slideLayouts/slideLayout166.xml"/><Relationship Id="rId15" Type="http://schemas.openxmlformats.org/officeDocument/2006/relationships/slideLayout" Target="../slideLayouts/slideLayout176.xml"/><Relationship Id="rId23" Type="http://schemas.openxmlformats.org/officeDocument/2006/relationships/slideLayout" Target="../slideLayouts/slideLayout184.xml"/><Relationship Id="rId28" Type="http://schemas.openxmlformats.org/officeDocument/2006/relationships/slideLayout" Target="../slideLayouts/slideLayout189.xml"/><Relationship Id="rId36" Type="http://schemas.openxmlformats.org/officeDocument/2006/relationships/slideLayout" Target="../slideLayouts/slideLayout197.xml"/><Relationship Id="rId10" Type="http://schemas.openxmlformats.org/officeDocument/2006/relationships/slideLayout" Target="../slideLayouts/slideLayout171.xml"/><Relationship Id="rId19" Type="http://schemas.openxmlformats.org/officeDocument/2006/relationships/slideLayout" Target="../slideLayouts/slideLayout180.xml"/><Relationship Id="rId31" Type="http://schemas.openxmlformats.org/officeDocument/2006/relationships/slideLayout" Target="../slideLayouts/slideLayout192.xml"/><Relationship Id="rId4" Type="http://schemas.openxmlformats.org/officeDocument/2006/relationships/slideLayout" Target="../slideLayouts/slideLayout165.xml"/><Relationship Id="rId9" Type="http://schemas.openxmlformats.org/officeDocument/2006/relationships/slideLayout" Target="../slideLayouts/slideLayout170.xml"/><Relationship Id="rId14" Type="http://schemas.openxmlformats.org/officeDocument/2006/relationships/slideLayout" Target="../slideLayouts/slideLayout175.xml"/><Relationship Id="rId22" Type="http://schemas.openxmlformats.org/officeDocument/2006/relationships/slideLayout" Target="../slideLayouts/slideLayout183.xml"/><Relationship Id="rId27" Type="http://schemas.openxmlformats.org/officeDocument/2006/relationships/slideLayout" Target="../slideLayouts/slideLayout188.xml"/><Relationship Id="rId30" Type="http://schemas.openxmlformats.org/officeDocument/2006/relationships/slideLayout" Target="../slideLayouts/slideLayout191.xml"/><Relationship Id="rId35" Type="http://schemas.openxmlformats.org/officeDocument/2006/relationships/slideLayout" Target="../slideLayouts/slideLayout19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5.xml"/><Relationship Id="rId13" Type="http://schemas.openxmlformats.org/officeDocument/2006/relationships/slideLayout" Target="../slideLayouts/slideLayout210.xml"/><Relationship Id="rId18" Type="http://schemas.openxmlformats.org/officeDocument/2006/relationships/slideLayout" Target="../slideLayouts/slideLayout215.xml"/><Relationship Id="rId26" Type="http://schemas.openxmlformats.org/officeDocument/2006/relationships/slideLayout" Target="../slideLayouts/slideLayout223.xml"/><Relationship Id="rId39" Type="http://schemas.openxmlformats.org/officeDocument/2006/relationships/oleObject" Target="../embeddings/oleObject7.bin"/><Relationship Id="rId3" Type="http://schemas.openxmlformats.org/officeDocument/2006/relationships/slideLayout" Target="../slideLayouts/slideLayout200.xml"/><Relationship Id="rId21" Type="http://schemas.openxmlformats.org/officeDocument/2006/relationships/slideLayout" Target="../slideLayouts/slideLayout218.xml"/><Relationship Id="rId34" Type="http://schemas.openxmlformats.org/officeDocument/2006/relationships/slideLayout" Target="../slideLayouts/slideLayout231.xml"/><Relationship Id="rId7" Type="http://schemas.openxmlformats.org/officeDocument/2006/relationships/slideLayout" Target="../slideLayouts/slideLayout204.xml"/><Relationship Id="rId12" Type="http://schemas.openxmlformats.org/officeDocument/2006/relationships/slideLayout" Target="../slideLayouts/slideLayout209.xml"/><Relationship Id="rId17" Type="http://schemas.openxmlformats.org/officeDocument/2006/relationships/slideLayout" Target="../slideLayouts/slideLayout214.xml"/><Relationship Id="rId25" Type="http://schemas.openxmlformats.org/officeDocument/2006/relationships/slideLayout" Target="../slideLayouts/slideLayout222.xml"/><Relationship Id="rId33" Type="http://schemas.openxmlformats.org/officeDocument/2006/relationships/slideLayout" Target="../slideLayouts/slideLayout230.xml"/><Relationship Id="rId38" Type="http://schemas.openxmlformats.org/officeDocument/2006/relationships/tags" Target="../tags/tag7.xml"/><Relationship Id="rId2" Type="http://schemas.openxmlformats.org/officeDocument/2006/relationships/slideLayout" Target="../slideLayouts/slideLayout199.xml"/><Relationship Id="rId16" Type="http://schemas.openxmlformats.org/officeDocument/2006/relationships/slideLayout" Target="../slideLayouts/slideLayout213.xml"/><Relationship Id="rId20" Type="http://schemas.openxmlformats.org/officeDocument/2006/relationships/slideLayout" Target="../slideLayouts/slideLayout217.xml"/><Relationship Id="rId29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1" Type="http://schemas.openxmlformats.org/officeDocument/2006/relationships/slideLayout" Target="../slideLayouts/slideLayout208.xml"/><Relationship Id="rId24" Type="http://schemas.openxmlformats.org/officeDocument/2006/relationships/slideLayout" Target="../slideLayouts/slideLayout221.xml"/><Relationship Id="rId32" Type="http://schemas.openxmlformats.org/officeDocument/2006/relationships/slideLayout" Target="../slideLayouts/slideLayout229.xml"/><Relationship Id="rId37" Type="http://schemas.openxmlformats.org/officeDocument/2006/relationships/vmlDrawing" Target="../drawings/vmlDrawing7.v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202.xml"/><Relationship Id="rId15" Type="http://schemas.openxmlformats.org/officeDocument/2006/relationships/slideLayout" Target="../slideLayouts/slideLayout212.xml"/><Relationship Id="rId23" Type="http://schemas.openxmlformats.org/officeDocument/2006/relationships/slideLayout" Target="../slideLayouts/slideLayout220.xml"/><Relationship Id="rId28" Type="http://schemas.openxmlformats.org/officeDocument/2006/relationships/slideLayout" Target="../slideLayouts/slideLayout225.xml"/><Relationship Id="rId36" Type="http://schemas.openxmlformats.org/officeDocument/2006/relationships/theme" Target="../theme/theme7.xml"/><Relationship Id="rId10" Type="http://schemas.openxmlformats.org/officeDocument/2006/relationships/slideLayout" Target="../slideLayouts/slideLayout207.xml"/><Relationship Id="rId19" Type="http://schemas.openxmlformats.org/officeDocument/2006/relationships/slideLayout" Target="../slideLayouts/slideLayout216.xml"/><Relationship Id="rId31" Type="http://schemas.openxmlformats.org/officeDocument/2006/relationships/slideLayout" Target="../slideLayouts/slideLayout228.xml"/><Relationship Id="rId4" Type="http://schemas.openxmlformats.org/officeDocument/2006/relationships/slideLayout" Target="../slideLayouts/slideLayout201.xml"/><Relationship Id="rId9" Type="http://schemas.openxmlformats.org/officeDocument/2006/relationships/slideLayout" Target="../slideLayouts/slideLayout206.xml"/><Relationship Id="rId14" Type="http://schemas.openxmlformats.org/officeDocument/2006/relationships/slideLayout" Target="../slideLayouts/slideLayout211.xml"/><Relationship Id="rId22" Type="http://schemas.openxmlformats.org/officeDocument/2006/relationships/slideLayout" Target="../slideLayouts/slideLayout219.xml"/><Relationship Id="rId27" Type="http://schemas.openxmlformats.org/officeDocument/2006/relationships/slideLayout" Target="../slideLayouts/slideLayout224.xml"/><Relationship Id="rId30" Type="http://schemas.openxmlformats.org/officeDocument/2006/relationships/slideLayout" Target="../slideLayouts/slideLayout227.xml"/><Relationship Id="rId35" Type="http://schemas.openxmlformats.org/officeDocument/2006/relationships/slideLayout" Target="../slideLayouts/slideLayout2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48" name="think-cell Slide" r:id="rId41" imgW="270" imgH="270" progId="TCLayout.ActiveDocument.1">
                  <p:embed/>
                </p:oleObj>
              </mc:Choice>
              <mc:Fallback>
                <p:oleObj name="think-cell Slide" r:id="rId4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3260269A-FC02-4A91-9772-DC522208C949}"/>
              </a:ext>
            </a:extLst>
          </p:cNvPr>
          <p:cNvSpPr txBox="1"/>
          <p:nvPr userDrawn="1"/>
        </p:nvSpPr>
        <p:spPr>
          <a:xfrm>
            <a:off x="376237" y="6732190"/>
            <a:ext cx="4016376" cy="20126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400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© 2018 Deloitte Consulting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68715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  <p:sldLayoutId id="2147483785" r:id="rId22"/>
    <p:sldLayoutId id="2147483786" r:id="rId23"/>
    <p:sldLayoutId id="2147483787" r:id="rId24"/>
    <p:sldLayoutId id="2147483788" r:id="rId25"/>
    <p:sldLayoutId id="2147483789" r:id="rId26"/>
    <p:sldLayoutId id="2147483790" r:id="rId27"/>
    <p:sldLayoutId id="2147483791" r:id="rId28"/>
    <p:sldLayoutId id="2147483792" r:id="rId29"/>
    <p:sldLayoutId id="2147483793" r:id="rId30"/>
    <p:sldLayoutId id="2147483794" r:id="rId31"/>
    <p:sldLayoutId id="2147483796" r:id="rId32"/>
    <p:sldLayoutId id="2147483797" r:id="rId33"/>
    <p:sldLayoutId id="2147483798" r:id="rId34"/>
    <p:sldLayoutId id="2147483979" r:id="rId35"/>
    <p:sldLayoutId id="2147484020" r:id="rId36"/>
    <p:sldLayoutId id="2147484022" r:id="rId37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9" pos="3721">
          <p15:clr>
            <a:srgbClr val="F26B43"/>
          </p15:clr>
        </p15:guide>
        <p15:guide id="10" orient="horz" pos="236">
          <p15:clr>
            <a:srgbClr val="F26B43"/>
          </p15:clr>
        </p15:guide>
        <p15:guide id="11" pos="1022">
          <p15:clr>
            <a:srgbClr val="F26B43"/>
          </p15:clr>
        </p15:guide>
        <p15:guide id="12" pos="1137">
          <p15:clr>
            <a:srgbClr val="F26B43"/>
          </p15:clr>
        </p15:guide>
        <p15:guide id="13" pos="1920">
          <p15:clr>
            <a:srgbClr val="F26B43"/>
          </p15:clr>
        </p15:guide>
        <p15:guide id="14" pos="2033">
          <p15:clr>
            <a:srgbClr val="F26B43"/>
          </p15:clr>
        </p15:guide>
        <p15:guide id="15" pos="4620">
          <p15:clr>
            <a:srgbClr val="F26B43"/>
          </p15:clr>
        </p15:guide>
        <p15:guide id="16" pos="2823">
          <p15:clr>
            <a:srgbClr val="F26B43"/>
          </p15:clr>
        </p15:guide>
        <p15:guide id="17" pos="2937">
          <p15:clr>
            <a:srgbClr val="F26B43"/>
          </p15:clr>
        </p15:guide>
        <p15:guide id="18" pos="2880">
          <p15:clr>
            <a:srgbClr val="F26B43"/>
          </p15:clr>
        </p15:guide>
        <p15:guide id="19" pos="4734">
          <p15:clr>
            <a:srgbClr val="F26B43"/>
          </p15:clr>
        </p15:guide>
        <p15:guide id="20" orient="horz" pos="1049">
          <p15:clr>
            <a:srgbClr val="F26B43"/>
          </p15:clr>
        </p15:guide>
        <p15:guide id="21" orient="horz" pos="6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01638" y="514350"/>
            <a:ext cx="834548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198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96875" y="1154113"/>
            <a:ext cx="4014788" cy="5135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</p:txBody>
      </p:sp>
      <p:sp>
        <p:nvSpPr>
          <p:cNvPr id="41988" name="Text Box 5"/>
          <p:cNvSpPr txBox="1">
            <a:spLocks noChangeArrowheads="1"/>
          </p:cNvSpPr>
          <p:nvPr/>
        </p:nvSpPr>
        <p:spPr bwMode="gray">
          <a:xfrm>
            <a:off x="4432300" y="6664325"/>
            <a:ext cx="279400" cy="144463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858585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 anchorCtr="1">
            <a:spAutoFit/>
          </a:bodyPr>
          <a:lstStyle>
            <a:lvl1pPr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65000"/>
              <a:buFont typeface="Wingdings" panose="05000000000000000000" pitchFamily="2" charset="2"/>
              <a:buNone/>
            </a:pPr>
            <a:r>
              <a:rPr lang="en-US" altLang="en-US" sz="900" b="0" dirty="0">
                <a:solidFill>
                  <a:srgbClr val="000000"/>
                </a:solidFill>
                <a:cs typeface="Arial" panose="020B0604020202020204" pitchFamily="34" charset="0"/>
              </a:rPr>
              <a:t>- </a:t>
            </a:r>
            <a:fld id="{BBBC1CB2-E2BD-4543-973C-485A448B8FDA}" type="slidenum">
              <a:rPr lang="en-US" altLang="en-US" sz="900" b="0">
                <a:solidFill>
                  <a:srgbClr val="000000"/>
                </a:solidFill>
                <a:cs typeface="Arial" panose="020B0604020202020204" pitchFamily="34" charset="0"/>
              </a:rPr>
              <a:pPr algn="ctr"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65000"/>
                <a:buFont typeface="Wingdings" panose="05000000000000000000" pitchFamily="2" charset="2"/>
                <a:buNone/>
              </a:pPr>
              <a:t>‹#›</a:t>
            </a:fld>
            <a:r>
              <a:rPr lang="en-US" altLang="en-US" sz="900" b="0" dirty="0">
                <a:solidFill>
                  <a:srgbClr val="000000"/>
                </a:solidFill>
                <a:cs typeface="Arial" panose="020B0604020202020204" pitchFamily="34" charset="0"/>
              </a:rPr>
              <a:t> -</a:t>
            </a:r>
          </a:p>
        </p:txBody>
      </p:sp>
      <p:pic>
        <p:nvPicPr>
          <p:cNvPr id="41989" name="Picture 6" descr="DEL_COL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95288" y="6645275"/>
            <a:ext cx="690562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990" name="Line 35"/>
          <p:cNvSpPr>
            <a:spLocks noChangeShapeType="1"/>
          </p:cNvSpPr>
          <p:nvPr/>
        </p:nvSpPr>
        <p:spPr bwMode="gray">
          <a:xfrm>
            <a:off x="392113" y="806450"/>
            <a:ext cx="835501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961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  <p:sldLayoutId id="2147483811" r:id="rId9"/>
    <p:sldLayoutId id="2147483812" r:id="rId10"/>
    <p:sldLayoutId id="2147483813" r:id="rId11"/>
    <p:sldLayoutId id="2147483814" r:id="rId12"/>
    <p:sldLayoutId id="2147483815" r:id="rId13"/>
    <p:sldLayoutId id="2147483816" r:id="rId14"/>
    <p:sldLayoutId id="2147483817" r:id="rId15"/>
    <p:sldLayoutId id="2147483818" r:id="rId16"/>
    <p:sldLayoutId id="2147483819" r:id="rId17"/>
    <p:sldLayoutId id="2147483820" r:id="rId18"/>
    <p:sldLayoutId id="2147483821" r:id="rId19"/>
    <p:sldLayoutId id="2147483822" r:id="rId20"/>
    <p:sldLayoutId id="2147483823" r:id="rId21"/>
    <p:sldLayoutId id="2147483824" r:id="rId22"/>
    <p:sldLayoutId id="2147483825" r:id="rId23"/>
    <p:sldLayoutId id="2147483826" r:id="rId24"/>
    <p:sldLayoutId id="2147483827" r:id="rId25"/>
    <p:sldLayoutId id="2147483828" r:id="rId26"/>
    <p:sldLayoutId id="2147483829" r:id="rId27"/>
    <p:sldLayoutId id="2147483830" r:id="rId28"/>
    <p:sldLayoutId id="2147483831" r:id="rId29"/>
    <p:sldLayoutId id="2147483832" r:id="rId30"/>
    <p:sldLayoutId id="2147483834" r:id="rId31"/>
    <p:sldLayoutId id="2147483835" r:id="rId32"/>
    <p:sldLayoutId id="2147483836" r:id="rId33"/>
    <p:sldLayoutId id="2147483837" r:id="rId34"/>
    <p:sldLayoutId id="2147483838" r:id="rId35"/>
    <p:sldLayoutId id="2147483839" r:id="rId36"/>
    <p:sldLayoutId id="2147483841" r:id="rId37"/>
  </p:sldLayoutIdLst>
  <p:hf hdr="0" dt="0"/>
  <p:txStyles>
    <p:titleStyle>
      <a:lvl1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106000"/>
        </a:lnSpc>
        <a:spcBef>
          <a:spcPct val="80000"/>
        </a:spcBef>
        <a:spcAft>
          <a:spcPct val="0"/>
        </a:spcAft>
        <a:buClr>
          <a:schemeClr val="tx1"/>
        </a:buClr>
        <a:buSzPct val="80000"/>
        <a:defRPr sz="1100">
          <a:solidFill>
            <a:schemeClr val="tx1"/>
          </a:solidFill>
          <a:latin typeface="+mn-lt"/>
          <a:ea typeface="+mn-ea"/>
          <a:cs typeface="+mn-cs"/>
        </a:defRPr>
      </a:lvl1pPr>
      <a:lvl2pPr marL="169863" indent="-168275" algn="l" rtl="0" eaLnBrk="0" fontAlgn="base" hangingPunct="0">
        <a:lnSpc>
          <a:spcPct val="106000"/>
        </a:lnSpc>
        <a:spcBef>
          <a:spcPct val="80000"/>
        </a:spcBef>
        <a:spcAft>
          <a:spcPct val="0"/>
        </a:spcAft>
        <a:buClr>
          <a:schemeClr val="tx1"/>
        </a:buClr>
        <a:buFont typeface="Wingdings 2" panose="05020102010507070707" pitchFamily="18" charset="2"/>
        <a:buChar char="¡"/>
        <a:defRPr sz="1100">
          <a:solidFill>
            <a:schemeClr val="tx1"/>
          </a:solidFill>
          <a:latin typeface="+mn-lt"/>
        </a:defRPr>
      </a:lvl2pPr>
      <a:lvl3pPr marL="344488" indent="-173038" algn="l" rtl="0" eaLnBrk="0" fontAlgn="base" hangingPunct="0">
        <a:lnSpc>
          <a:spcPct val="106000"/>
        </a:lnSpc>
        <a:spcBef>
          <a:spcPct val="4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000">
          <a:solidFill>
            <a:schemeClr val="tx1"/>
          </a:solidFill>
          <a:latin typeface="+mn-lt"/>
        </a:defRPr>
      </a:lvl3pPr>
      <a:lvl4pPr marL="517525" indent="-171450" algn="l" rtl="0" eaLnBrk="0" fontAlgn="base" hangingPunct="0">
        <a:lnSpc>
          <a:spcPct val="106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000">
          <a:solidFill>
            <a:schemeClr val="tx1"/>
          </a:solidFill>
          <a:latin typeface="+mn-lt"/>
        </a:defRPr>
      </a:lvl4pPr>
      <a:lvl5pPr marL="1446213" indent="-2365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5pPr>
      <a:lvl6pPr marL="19034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6pPr>
      <a:lvl7pPr marL="23606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7pPr>
      <a:lvl8pPr marL="28178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8pPr>
      <a:lvl9pPr marL="32750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29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 userDrawn="1"/>
        </p:nvSpPr>
        <p:spPr>
          <a:xfrm>
            <a:off x="5095342" y="6718155"/>
            <a:ext cx="3672420" cy="20005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algn="r">
              <a:buSzPct val="100000"/>
            </a:pPr>
            <a:r>
              <a:rPr lang="en-US" sz="650" dirty="0">
                <a:solidFill>
                  <a:prstClr val="black"/>
                </a:solidFill>
              </a:rPr>
              <a:t>GCM Target Global Operating Model – response to RFP</a:t>
            </a:r>
          </a:p>
        </p:txBody>
      </p:sp>
      <p:sp>
        <p:nvSpPr>
          <p:cNvPr id="18" name="Copyright"/>
          <p:cNvSpPr txBox="1"/>
          <p:nvPr userDrawn="1"/>
        </p:nvSpPr>
        <p:spPr>
          <a:xfrm>
            <a:off x="376237" y="6718156"/>
            <a:ext cx="4016376" cy="20126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black"/>
                </a:solidFill>
              </a:rPr>
              <a:t>Copyright © 2017 Deloitte Consulting LLP. All rights reserved.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black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4302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  <p:sldLayoutId id="2147483852" r:id="rId9"/>
    <p:sldLayoutId id="2147483853" r:id="rId10"/>
    <p:sldLayoutId id="2147483854" r:id="rId11"/>
    <p:sldLayoutId id="2147483855" r:id="rId12"/>
    <p:sldLayoutId id="2147483856" r:id="rId13"/>
    <p:sldLayoutId id="2147483857" r:id="rId14"/>
    <p:sldLayoutId id="2147483858" r:id="rId15"/>
    <p:sldLayoutId id="2147483859" r:id="rId16"/>
    <p:sldLayoutId id="2147483860" r:id="rId17"/>
    <p:sldLayoutId id="2147483861" r:id="rId18"/>
    <p:sldLayoutId id="2147483862" r:id="rId19"/>
    <p:sldLayoutId id="2147483863" r:id="rId20"/>
    <p:sldLayoutId id="2147483864" r:id="rId21"/>
    <p:sldLayoutId id="2147483865" r:id="rId22"/>
    <p:sldLayoutId id="2147483866" r:id="rId23"/>
    <p:sldLayoutId id="2147483867" r:id="rId24"/>
    <p:sldLayoutId id="2147483868" r:id="rId25"/>
    <p:sldLayoutId id="2147483869" r:id="rId26"/>
    <p:sldLayoutId id="2147483870" r:id="rId27"/>
    <p:sldLayoutId id="2147483871" r:id="rId28"/>
    <p:sldLayoutId id="2147483872" r:id="rId29"/>
    <p:sldLayoutId id="2147483873" r:id="rId30"/>
    <p:sldLayoutId id="2147483874" r:id="rId31"/>
    <p:sldLayoutId id="2147483875" r:id="rId32"/>
    <p:sldLayoutId id="2147483876" r:id="rId33"/>
    <p:sldLayoutId id="2147483877" r:id="rId34"/>
    <p:sldLayoutId id="2147483878" r:id="rId35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9" pos="3721">
          <p15:clr>
            <a:srgbClr val="F26B43"/>
          </p15:clr>
        </p15:guide>
        <p15:guide id="10" orient="horz" pos="236">
          <p15:clr>
            <a:srgbClr val="F26B43"/>
          </p15:clr>
        </p15:guide>
        <p15:guide id="11" pos="1022">
          <p15:clr>
            <a:srgbClr val="F26B43"/>
          </p15:clr>
        </p15:guide>
        <p15:guide id="12" pos="1137">
          <p15:clr>
            <a:srgbClr val="F26B43"/>
          </p15:clr>
        </p15:guide>
        <p15:guide id="13" pos="1920">
          <p15:clr>
            <a:srgbClr val="F26B43"/>
          </p15:clr>
        </p15:guide>
        <p15:guide id="14" pos="2033">
          <p15:clr>
            <a:srgbClr val="F26B43"/>
          </p15:clr>
        </p15:guide>
        <p15:guide id="15" pos="4620">
          <p15:clr>
            <a:srgbClr val="F26B43"/>
          </p15:clr>
        </p15:guide>
        <p15:guide id="16" pos="2823">
          <p15:clr>
            <a:srgbClr val="F26B43"/>
          </p15:clr>
        </p15:guide>
        <p15:guide id="17" pos="2937">
          <p15:clr>
            <a:srgbClr val="F26B43"/>
          </p15:clr>
        </p15:guide>
        <p15:guide id="18" pos="2880">
          <p15:clr>
            <a:srgbClr val="F26B43"/>
          </p15:clr>
        </p15:guide>
        <p15:guide id="19" pos="4734">
          <p15:clr>
            <a:srgbClr val="F26B43"/>
          </p15:clr>
        </p15:guide>
        <p15:guide id="20" orient="horz" pos="1049">
          <p15:clr>
            <a:srgbClr val="F26B43"/>
          </p15:clr>
        </p15:guide>
        <p15:guide id="21" orient="horz" pos="6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01638" y="514350"/>
            <a:ext cx="834548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96875" y="1154113"/>
            <a:ext cx="4014788" cy="5135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699717" name="Text Box 5"/>
          <p:cNvSpPr txBox="1">
            <a:spLocks noChangeArrowheads="1"/>
          </p:cNvSpPr>
          <p:nvPr/>
        </p:nvSpPr>
        <p:spPr bwMode="gray">
          <a:xfrm>
            <a:off x="4432300" y="6664325"/>
            <a:ext cx="279400" cy="144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900" dirty="0">
                <a:solidFill>
                  <a:srgbClr val="000000"/>
                </a:solidFill>
                <a:cs typeface="Arial" charset="0"/>
              </a:rPr>
              <a:t>- </a:t>
            </a:r>
            <a:fld id="{C38465DB-AC06-4839-B633-1FE5D39062F7}" type="slidenum">
              <a:rPr lang="en-US" sz="900">
                <a:solidFill>
                  <a:srgbClr val="000000"/>
                </a:solidFill>
                <a:cs typeface="Arial" charset="0"/>
              </a:rPr>
              <a:pPr algn="ctr"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srgbClr val="000000"/>
                </a:solidFill>
                <a:cs typeface="Arial" charset="0"/>
              </a:rPr>
              <a:t> -</a:t>
            </a:r>
          </a:p>
        </p:txBody>
      </p:sp>
      <p:pic>
        <p:nvPicPr>
          <p:cNvPr id="11269" name="Picture 6" descr="DEL_COL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95288" y="6645275"/>
            <a:ext cx="690562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99747" name="Line 35"/>
          <p:cNvSpPr>
            <a:spLocks noChangeShapeType="1"/>
          </p:cNvSpPr>
          <p:nvPr/>
        </p:nvSpPr>
        <p:spPr bwMode="gray">
          <a:xfrm>
            <a:off x="392113" y="806450"/>
            <a:ext cx="835501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106000"/>
              </a:lnSpc>
              <a:spcBef>
                <a:spcPct val="50000"/>
              </a:spcBef>
              <a:spcAft>
                <a:spcPct val="0"/>
              </a:spcAft>
              <a:buSzPct val="100000"/>
              <a:buFont typeface="Wingdings 2" pitchFamily="18" charset="2"/>
              <a:buNone/>
              <a:defRPr/>
            </a:pPr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3659" y="6613525"/>
            <a:ext cx="6223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64222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  <p:sldLayoutId id="2147483884" r:id="rId4"/>
    <p:sldLayoutId id="2147483885" r:id="rId5"/>
    <p:sldLayoutId id="2147483886" r:id="rId6"/>
    <p:sldLayoutId id="2147483887" r:id="rId7"/>
    <p:sldLayoutId id="2147483888" r:id="rId8"/>
    <p:sldLayoutId id="2147483889" r:id="rId9"/>
    <p:sldLayoutId id="2147483890" r:id="rId10"/>
    <p:sldLayoutId id="2147483891" r:id="rId11"/>
    <p:sldLayoutId id="2147483892" r:id="rId12"/>
    <p:sldLayoutId id="2147483893" r:id="rId13"/>
    <p:sldLayoutId id="2147483894" r:id="rId14"/>
    <p:sldLayoutId id="2147483895" r:id="rId15"/>
    <p:sldLayoutId id="2147483896" r:id="rId16"/>
    <p:sldLayoutId id="2147483897" r:id="rId17"/>
    <p:sldLayoutId id="2147483898" r:id="rId18"/>
    <p:sldLayoutId id="2147483899" r:id="rId19"/>
    <p:sldLayoutId id="2147483900" r:id="rId20"/>
    <p:sldLayoutId id="2147483901" r:id="rId21"/>
    <p:sldLayoutId id="2147483902" r:id="rId22"/>
    <p:sldLayoutId id="2147483903" r:id="rId23"/>
    <p:sldLayoutId id="2147483904" r:id="rId24"/>
    <p:sldLayoutId id="2147483905" r:id="rId25"/>
    <p:sldLayoutId id="2147483906" r:id="rId26"/>
    <p:sldLayoutId id="2147483907" r:id="rId27"/>
    <p:sldLayoutId id="2147483908" r:id="rId28"/>
    <p:sldLayoutId id="2147483909" r:id="rId29"/>
    <p:sldLayoutId id="2147483912" r:id="rId30"/>
    <p:sldLayoutId id="2147483913" r:id="rId31"/>
    <p:sldLayoutId id="2147483914" r:id="rId32"/>
    <p:sldLayoutId id="2147483915" r:id="rId33"/>
    <p:sldLayoutId id="2147483916" r:id="rId34"/>
    <p:sldLayoutId id="2147483917" r:id="rId35"/>
    <p:sldLayoutId id="2147483918" r:id="rId36"/>
    <p:sldLayoutId id="2147483922" r:id="rId37"/>
    <p:sldLayoutId id="2147483923" r:id="rId38"/>
    <p:sldLayoutId id="2147483924" r:id="rId39"/>
    <p:sldLayoutId id="2147483925" r:id="rId40"/>
  </p:sldLayoutIdLst>
  <p:hf hdr="0" dt="0"/>
  <p:txStyles>
    <p:titleStyle>
      <a:lvl1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ct val="106000"/>
        </a:lnSpc>
        <a:spcBef>
          <a:spcPct val="80000"/>
        </a:spcBef>
        <a:spcAft>
          <a:spcPct val="0"/>
        </a:spcAft>
        <a:buClr>
          <a:schemeClr val="tx1"/>
        </a:buClr>
        <a:buSzPct val="80000"/>
        <a:defRPr sz="1100">
          <a:solidFill>
            <a:schemeClr val="tx1"/>
          </a:solidFill>
          <a:latin typeface="+mn-lt"/>
          <a:ea typeface="+mn-ea"/>
          <a:cs typeface="+mn-cs"/>
        </a:defRPr>
      </a:lvl1pPr>
      <a:lvl2pPr marL="169863" indent="-168275" algn="l" rtl="0" eaLnBrk="1" fontAlgn="base" hangingPunct="1">
        <a:lnSpc>
          <a:spcPct val="106000"/>
        </a:lnSpc>
        <a:spcBef>
          <a:spcPct val="80000"/>
        </a:spcBef>
        <a:spcAft>
          <a:spcPct val="0"/>
        </a:spcAft>
        <a:buClr>
          <a:schemeClr val="tx1"/>
        </a:buClr>
        <a:buFont typeface="Wingdings 2" pitchFamily="18" charset="2"/>
        <a:buChar char="¡"/>
        <a:defRPr sz="1100">
          <a:solidFill>
            <a:schemeClr val="tx1"/>
          </a:solidFill>
          <a:latin typeface="+mn-lt"/>
        </a:defRPr>
      </a:lvl2pPr>
      <a:lvl3pPr marL="344488" indent="-173038" algn="l" rtl="0" eaLnBrk="1" fontAlgn="base" hangingPunct="1">
        <a:lnSpc>
          <a:spcPct val="106000"/>
        </a:lnSpc>
        <a:spcBef>
          <a:spcPct val="40000"/>
        </a:spcBef>
        <a:spcAft>
          <a:spcPct val="0"/>
        </a:spcAft>
        <a:buClr>
          <a:schemeClr val="tx1"/>
        </a:buClr>
        <a:buFont typeface="Arial" charset="0"/>
        <a:buChar char="–"/>
        <a:defRPr sz="1000">
          <a:solidFill>
            <a:schemeClr val="tx1"/>
          </a:solidFill>
          <a:latin typeface="+mn-lt"/>
        </a:defRPr>
      </a:lvl3pPr>
      <a:lvl4pPr marL="517525" indent="-171450" algn="l" rtl="0" eaLnBrk="1" fontAlgn="base" hangingPunct="1">
        <a:lnSpc>
          <a:spcPct val="106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000">
          <a:solidFill>
            <a:schemeClr val="tx1"/>
          </a:solidFill>
          <a:latin typeface="+mn-lt"/>
        </a:defRPr>
      </a:lvl4pPr>
      <a:lvl5pPr marL="14462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5pPr>
      <a:lvl6pPr marL="19034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6pPr>
      <a:lvl7pPr marL="23606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7pPr>
      <a:lvl8pPr marL="28178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8pPr>
      <a:lvl9pPr marL="32750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37"/>
          <p:cNvSpPr>
            <a:spLocks noChangeShapeType="1"/>
          </p:cNvSpPr>
          <p:nvPr/>
        </p:nvSpPr>
        <p:spPr bwMode="gray">
          <a:xfrm>
            <a:off x="392113" y="806450"/>
            <a:ext cx="83566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01638" y="514350"/>
            <a:ext cx="8347075" cy="258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98463" y="1000125"/>
            <a:ext cx="8339137" cy="5135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29" name="Text Box 5"/>
          <p:cNvSpPr txBox="1">
            <a:spLocks noChangeArrowheads="1"/>
          </p:cNvSpPr>
          <p:nvPr/>
        </p:nvSpPr>
        <p:spPr bwMode="gray">
          <a:xfrm>
            <a:off x="4432300" y="6664325"/>
            <a:ext cx="279400" cy="144463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858585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 anchorCtr="1">
            <a:spAutoFit/>
          </a:bodyPr>
          <a:lstStyle>
            <a:lvl1pPr>
              <a:defRPr sz="11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1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1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1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1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900" b="0" dirty="0">
                <a:solidFill>
                  <a:srgbClr val="000000"/>
                </a:solidFill>
              </a:rPr>
              <a:t>- </a:t>
            </a:r>
            <a:fld id="{EE0F2FE3-8866-4478-8343-8E505906C0B0}" type="slidenum">
              <a:rPr lang="en-US" sz="900" b="0" smtClean="0">
                <a:solidFill>
                  <a:srgbClr val="000000"/>
                </a:solidFill>
              </a:rPr>
              <a:pPr algn="ctr" eaLnBrk="0" fontAlgn="base" hangingPunct="0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b="0" dirty="0">
                <a:solidFill>
                  <a:srgbClr val="000000"/>
                </a:solidFill>
              </a:rPr>
              <a:t> -</a:t>
            </a:r>
          </a:p>
        </p:txBody>
      </p:sp>
      <p:pic>
        <p:nvPicPr>
          <p:cNvPr id="1030" name="Picture 6" descr="DEL_COL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17488" y="6545263"/>
            <a:ext cx="690562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Line 35"/>
          <p:cNvSpPr>
            <a:spLocks noChangeShapeType="1"/>
          </p:cNvSpPr>
          <p:nvPr/>
        </p:nvSpPr>
        <p:spPr bwMode="gray">
          <a:xfrm>
            <a:off x="469900" y="992188"/>
            <a:ext cx="8504238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152" tIns="73152" rIns="73152" bIns="73152" anchor="ctr" anchorCtr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endParaRPr lang="en-US" sz="1100" b="1" dirty="0">
              <a:solidFill>
                <a:srgbClr val="000000"/>
              </a:solidFill>
            </a:endParaRPr>
          </a:p>
        </p:txBody>
      </p:sp>
      <p:pic>
        <p:nvPicPr>
          <p:cNvPr id="1032" name="Picture 2" descr="C:\Users\kerose\Desktop\nyl_slg_logo.gif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01" t="11542" r="4910"/>
          <a:stretch>
            <a:fillRect/>
          </a:stretch>
        </p:blipFill>
        <p:spPr bwMode="auto">
          <a:xfrm>
            <a:off x="8288338" y="6321425"/>
            <a:ext cx="4572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7887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28" r:id="rId2"/>
    <p:sldLayoutId id="2147483929" r:id="rId3"/>
    <p:sldLayoutId id="2147483930" r:id="rId4"/>
    <p:sldLayoutId id="2147483931" r:id="rId5"/>
    <p:sldLayoutId id="2147483932" r:id="rId6"/>
    <p:sldLayoutId id="2147483933" r:id="rId7"/>
    <p:sldLayoutId id="2147483934" r:id="rId8"/>
    <p:sldLayoutId id="2147483935" r:id="rId9"/>
    <p:sldLayoutId id="2147483936" r:id="rId10"/>
    <p:sldLayoutId id="2147483937" r:id="rId11"/>
    <p:sldLayoutId id="2147483938" r:id="rId12"/>
  </p:sldLayoutIdLst>
  <p:hf hdr="0" dt="0"/>
  <p:txStyles>
    <p:titleStyle>
      <a:lvl1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5pPr>
      <a:lvl6pPr marL="457200" algn="l" rtl="0" fontAlgn="base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6pPr>
      <a:lvl7pPr marL="914400" algn="l" rtl="0" fontAlgn="base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7pPr>
      <a:lvl8pPr marL="1371600" algn="l" rtl="0" fontAlgn="base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8pPr>
      <a:lvl9pPr marL="1828800" algn="l" rtl="0" fontAlgn="base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lnSpc>
          <a:spcPct val="106000"/>
        </a:lnSpc>
        <a:spcBef>
          <a:spcPct val="80000"/>
        </a:spcBef>
        <a:spcAft>
          <a:spcPct val="0"/>
        </a:spcAft>
        <a:buClr>
          <a:schemeClr val="tx1"/>
        </a:buClr>
        <a:buSzPct val="80000"/>
        <a:buFont typeface="Wingdings" pitchFamily="2" charset="2"/>
        <a:defRPr sz="1100">
          <a:solidFill>
            <a:schemeClr val="tx1"/>
          </a:solidFill>
          <a:latin typeface="+mn-lt"/>
          <a:ea typeface="+mn-ea"/>
          <a:cs typeface="+mn-cs"/>
        </a:defRPr>
      </a:lvl1pPr>
      <a:lvl2pPr marL="169863" indent="-168275" algn="l" rtl="0" eaLnBrk="0" fontAlgn="base" hangingPunct="0">
        <a:lnSpc>
          <a:spcPct val="106000"/>
        </a:lnSpc>
        <a:spcBef>
          <a:spcPct val="80000"/>
        </a:spcBef>
        <a:spcAft>
          <a:spcPct val="0"/>
        </a:spcAft>
        <a:buClr>
          <a:schemeClr val="tx1"/>
        </a:buClr>
        <a:buFont typeface="Wingdings 2" pitchFamily="18" charset="2"/>
        <a:buChar char="¡"/>
        <a:defRPr sz="1100">
          <a:solidFill>
            <a:schemeClr val="tx1"/>
          </a:solidFill>
          <a:latin typeface="+mn-lt"/>
        </a:defRPr>
      </a:lvl2pPr>
      <a:lvl3pPr marL="344488" indent="-173038" algn="l" rtl="0" eaLnBrk="0" fontAlgn="base" hangingPunct="0">
        <a:lnSpc>
          <a:spcPct val="106000"/>
        </a:lnSpc>
        <a:spcBef>
          <a:spcPct val="4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000">
          <a:solidFill>
            <a:schemeClr val="tx1"/>
          </a:solidFill>
          <a:latin typeface="+mn-lt"/>
        </a:defRPr>
      </a:lvl3pPr>
      <a:lvl4pPr marL="517525" indent="-171450" algn="l" rtl="0" eaLnBrk="0" fontAlgn="base" hangingPunct="0">
        <a:lnSpc>
          <a:spcPct val="106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000">
          <a:solidFill>
            <a:schemeClr val="tx1"/>
          </a:solidFill>
          <a:latin typeface="+mn-lt"/>
        </a:defRPr>
      </a:lvl4pPr>
      <a:lvl5pPr marL="1446213" indent="-2365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5pPr>
      <a:lvl6pPr marL="1903413" indent="-236538" algn="l" rtl="0" fontAlgn="base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6pPr>
      <a:lvl7pPr marL="2360613" indent="-236538" algn="l" rtl="0" fontAlgn="base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7pPr>
      <a:lvl8pPr marL="2817813" indent="-236538" algn="l" rtl="0" fontAlgn="base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8pPr>
      <a:lvl9pPr marL="3275013" indent="-236538" algn="l" rtl="0" fontAlgn="base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55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 userDrawn="1"/>
        </p:nvSpPr>
        <p:spPr>
          <a:xfrm>
            <a:off x="4751388" y="6732189"/>
            <a:ext cx="3672420" cy="20005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algn="r">
              <a:buSzPct val="100000"/>
            </a:pPr>
            <a:r>
              <a:rPr lang="en-US" sz="650" dirty="0">
                <a:solidFill>
                  <a:prstClr val="black"/>
                </a:solidFill>
              </a:rPr>
              <a:t>GCM Target Global Operating Model – response to RFP</a:t>
            </a:r>
          </a:p>
        </p:txBody>
      </p:sp>
      <p:sp>
        <p:nvSpPr>
          <p:cNvPr id="18" name="Copyright"/>
          <p:cNvSpPr txBox="1"/>
          <p:nvPr userDrawn="1"/>
        </p:nvSpPr>
        <p:spPr>
          <a:xfrm>
            <a:off x="376237" y="6732190"/>
            <a:ext cx="4016376" cy="20126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black"/>
                </a:solidFill>
              </a:rPr>
              <a:t>Copyright © 2017 Deloitte Consulting LLP. All rights reserved.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721557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black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006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  <p:sldLayoutId id="2147483943" r:id="rId2"/>
    <p:sldLayoutId id="2147483944" r:id="rId3"/>
    <p:sldLayoutId id="2147483945" r:id="rId4"/>
    <p:sldLayoutId id="2147483946" r:id="rId5"/>
    <p:sldLayoutId id="2147483947" r:id="rId6"/>
    <p:sldLayoutId id="2147483948" r:id="rId7"/>
    <p:sldLayoutId id="2147483949" r:id="rId8"/>
    <p:sldLayoutId id="2147483950" r:id="rId9"/>
    <p:sldLayoutId id="2147483951" r:id="rId10"/>
    <p:sldLayoutId id="2147483952" r:id="rId11"/>
    <p:sldLayoutId id="2147483953" r:id="rId12"/>
    <p:sldLayoutId id="2147483954" r:id="rId13"/>
    <p:sldLayoutId id="2147483955" r:id="rId14"/>
    <p:sldLayoutId id="2147483956" r:id="rId15"/>
    <p:sldLayoutId id="2147483957" r:id="rId16"/>
    <p:sldLayoutId id="2147483958" r:id="rId17"/>
    <p:sldLayoutId id="2147483959" r:id="rId18"/>
    <p:sldLayoutId id="2147483960" r:id="rId19"/>
    <p:sldLayoutId id="2147483961" r:id="rId20"/>
    <p:sldLayoutId id="2147483962" r:id="rId21"/>
    <p:sldLayoutId id="2147483963" r:id="rId22"/>
    <p:sldLayoutId id="2147483964" r:id="rId23"/>
    <p:sldLayoutId id="2147483965" r:id="rId24"/>
    <p:sldLayoutId id="2147483966" r:id="rId25"/>
    <p:sldLayoutId id="2147483967" r:id="rId26"/>
    <p:sldLayoutId id="2147483968" r:id="rId27"/>
    <p:sldLayoutId id="2147483969" r:id="rId28"/>
    <p:sldLayoutId id="2147483970" r:id="rId29"/>
    <p:sldLayoutId id="2147483971" r:id="rId30"/>
    <p:sldLayoutId id="2147483972" r:id="rId31"/>
    <p:sldLayoutId id="2147483973" r:id="rId32"/>
    <p:sldLayoutId id="2147483974" r:id="rId33"/>
    <p:sldLayoutId id="2147483975" r:id="rId34"/>
    <p:sldLayoutId id="2147483976" r:id="rId35"/>
    <p:sldLayoutId id="2147483978" r:id="rId36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9" pos="3721">
          <p15:clr>
            <a:srgbClr val="F26B43"/>
          </p15:clr>
        </p15:guide>
        <p15:guide id="10" orient="horz" pos="236">
          <p15:clr>
            <a:srgbClr val="F26B43"/>
          </p15:clr>
        </p15:guide>
        <p15:guide id="11" pos="1022">
          <p15:clr>
            <a:srgbClr val="F26B43"/>
          </p15:clr>
        </p15:guide>
        <p15:guide id="12" pos="1137">
          <p15:clr>
            <a:srgbClr val="F26B43"/>
          </p15:clr>
        </p15:guide>
        <p15:guide id="13" pos="1920">
          <p15:clr>
            <a:srgbClr val="F26B43"/>
          </p15:clr>
        </p15:guide>
        <p15:guide id="14" pos="2033">
          <p15:clr>
            <a:srgbClr val="F26B43"/>
          </p15:clr>
        </p15:guide>
        <p15:guide id="15" pos="4620">
          <p15:clr>
            <a:srgbClr val="F26B43"/>
          </p15:clr>
        </p15:guide>
        <p15:guide id="16" pos="2823">
          <p15:clr>
            <a:srgbClr val="F26B43"/>
          </p15:clr>
        </p15:guide>
        <p15:guide id="17" pos="2937">
          <p15:clr>
            <a:srgbClr val="F26B43"/>
          </p15:clr>
        </p15:guide>
        <p15:guide id="18" pos="2880">
          <p15:clr>
            <a:srgbClr val="F26B43"/>
          </p15:clr>
        </p15:guide>
        <p15:guide id="19" pos="4734">
          <p15:clr>
            <a:srgbClr val="F26B43"/>
          </p15:clr>
        </p15:guide>
        <p15:guide id="20" orient="horz" pos="1049">
          <p15:clr>
            <a:srgbClr val="F26B43"/>
          </p15:clr>
        </p15:guide>
        <p15:guide id="21" orient="horz" pos="6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54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 userDrawn="1"/>
        </p:nvSpPr>
        <p:spPr>
          <a:xfrm>
            <a:off x="4751388" y="6476999"/>
            <a:ext cx="3672420" cy="20005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algn="r">
              <a:buSzPct val="100000"/>
            </a:pPr>
            <a:r>
              <a:rPr lang="en-US" sz="650" dirty="0">
                <a:solidFill>
                  <a:prstClr val="black"/>
                </a:solidFill>
              </a:rPr>
              <a:t>GCM Target Global Operating Model – response to RFP</a:t>
            </a:r>
          </a:p>
        </p:txBody>
      </p:sp>
      <p:sp>
        <p:nvSpPr>
          <p:cNvPr id="18" name="Copyright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black"/>
                </a:solidFill>
              </a:rPr>
              <a:t>Copyright © 2017 Deloitte Consulting LLP. All rights reserved.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black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8610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  <p:sldLayoutId id="2147483993" r:id="rId9"/>
    <p:sldLayoutId id="2147483994" r:id="rId10"/>
    <p:sldLayoutId id="2147483995" r:id="rId11"/>
    <p:sldLayoutId id="2147483996" r:id="rId12"/>
    <p:sldLayoutId id="2147483997" r:id="rId13"/>
    <p:sldLayoutId id="2147483998" r:id="rId14"/>
    <p:sldLayoutId id="2147483999" r:id="rId15"/>
    <p:sldLayoutId id="2147484000" r:id="rId16"/>
    <p:sldLayoutId id="2147484001" r:id="rId17"/>
    <p:sldLayoutId id="2147484002" r:id="rId18"/>
    <p:sldLayoutId id="2147484003" r:id="rId19"/>
    <p:sldLayoutId id="2147484004" r:id="rId20"/>
    <p:sldLayoutId id="2147484005" r:id="rId21"/>
    <p:sldLayoutId id="2147484006" r:id="rId22"/>
    <p:sldLayoutId id="2147484007" r:id="rId23"/>
    <p:sldLayoutId id="2147484008" r:id="rId24"/>
    <p:sldLayoutId id="2147484009" r:id="rId25"/>
    <p:sldLayoutId id="2147484010" r:id="rId26"/>
    <p:sldLayoutId id="2147484011" r:id="rId27"/>
    <p:sldLayoutId id="2147484012" r:id="rId28"/>
    <p:sldLayoutId id="2147484013" r:id="rId29"/>
    <p:sldLayoutId id="2147484014" r:id="rId30"/>
    <p:sldLayoutId id="2147484015" r:id="rId31"/>
    <p:sldLayoutId id="2147484016" r:id="rId32"/>
    <p:sldLayoutId id="2147484017" r:id="rId33"/>
    <p:sldLayoutId id="2147484018" r:id="rId34"/>
    <p:sldLayoutId id="2147484019" r:id="rId35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9" pos="3721">
          <p15:clr>
            <a:srgbClr val="F26B43"/>
          </p15:clr>
        </p15:guide>
        <p15:guide id="10" orient="horz" pos="236">
          <p15:clr>
            <a:srgbClr val="F26B43"/>
          </p15:clr>
        </p15:guide>
        <p15:guide id="11" pos="1022">
          <p15:clr>
            <a:srgbClr val="F26B43"/>
          </p15:clr>
        </p15:guide>
        <p15:guide id="12" pos="1137">
          <p15:clr>
            <a:srgbClr val="F26B43"/>
          </p15:clr>
        </p15:guide>
        <p15:guide id="13" pos="1920">
          <p15:clr>
            <a:srgbClr val="F26B43"/>
          </p15:clr>
        </p15:guide>
        <p15:guide id="14" pos="2033">
          <p15:clr>
            <a:srgbClr val="F26B43"/>
          </p15:clr>
        </p15:guide>
        <p15:guide id="15" pos="4620">
          <p15:clr>
            <a:srgbClr val="F26B43"/>
          </p15:clr>
        </p15:guide>
        <p15:guide id="16" pos="2823">
          <p15:clr>
            <a:srgbClr val="F26B43"/>
          </p15:clr>
        </p15:guide>
        <p15:guide id="17" pos="2937">
          <p15:clr>
            <a:srgbClr val="F26B43"/>
          </p15:clr>
        </p15:guide>
        <p15:guide id="18" pos="2880">
          <p15:clr>
            <a:srgbClr val="F26B43"/>
          </p15:clr>
        </p15:guide>
        <p15:guide id="19" pos="4734">
          <p15:clr>
            <a:srgbClr val="F26B43"/>
          </p15:clr>
        </p15:guide>
        <p15:guide id="20" orient="horz" pos="1049">
          <p15:clr>
            <a:srgbClr val="F26B43"/>
          </p15:clr>
        </p15:guide>
        <p15:guide id="21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Relationship Id="rId4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916" y="1300405"/>
            <a:ext cx="3749040" cy="374904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376237" y="5864229"/>
            <a:ext cx="7800625" cy="505645"/>
          </a:xfrm>
        </p:spPr>
        <p:txBody>
          <a:bodyPr/>
          <a:lstStyle/>
          <a:p>
            <a:r>
              <a:rPr lang="en-US" dirty="0"/>
              <a:t>American Modern Insurance Group (AMIG)</a:t>
            </a:r>
          </a:p>
          <a:p>
            <a:r>
              <a:rPr lang="en-US" dirty="0"/>
              <a:t>ClaimCenter Fraud Analysis and Authorization Review</a:t>
            </a:r>
          </a:p>
          <a:p>
            <a:pPr lvl="1"/>
            <a:r>
              <a:rPr lang="en-US" dirty="0"/>
              <a:t>Deloitte Consulting Proposal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7" y="6232372"/>
            <a:ext cx="4195762" cy="298450"/>
          </a:xfrm>
        </p:spPr>
        <p:txBody>
          <a:bodyPr/>
          <a:lstStyle/>
          <a:p>
            <a:r>
              <a:rPr lang="en-US" sz="1050" dirty="0"/>
              <a:t>Oct 15, 2018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7147763" y="383408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EE304737-898F-C545-B828-AC733391CD1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0279" b="33085"/>
          <a:stretch/>
        </p:blipFill>
        <p:spPr>
          <a:xfrm>
            <a:off x="381000" y="317501"/>
            <a:ext cx="1287951" cy="471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83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6237" y="823395"/>
            <a:ext cx="8391525" cy="479609"/>
          </a:xfrm>
        </p:spPr>
        <p:txBody>
          <a:bodyPr/>
          <a:lstStyle/>
          <a:p>
            <a:r>
              <a:rPr lang="en-US" sz="1400" dirty="0"/>
              <a:t>Years in company/ Credit score of adjustor and other external variables to be analyzed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13916" y="413413"/>
            <a:ext cx="8391525" cy="334101"/>
          </a:xfrm>
        </p:spPr>
        <p:txBody>
          <a:bodyPr/>
          <a:lstStyle/>
          <a:p>
            <a:r>
              <a:rPr lang="en-US" dirty="0"/>
              <a:t>Fraud Scenario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D1524D-1F7F-E640-97E9-08381C5DD6FF}"/>
              </a:ext>
            </a:extLst>
          </p:cNvPr>
          <p:cNvSpPr txBox="1">
            <a:spLocks/>
          </p:cNvSpPr>
          <p:nvPr/>
        </p:nvSpPr>
        <p:spPr>
          <a:xfrm>
            <a:off x="381960" y="1752518"/>
            <a:ext cx="8385802" cy="25527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b="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Scenario Detai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eference the external sources of data like EASI/ ISO/ Lexus Nexus </a:t>
            </a:r>
            <a:r>
              <a:rPr lang="en-US" dirty="0" err="1"/>
              <a:t>etc</a:t>
            </a:r>
            <a:r>
              <a:rPr lang="en-US" dirty="0"/>
              <a:t> to find more information about the adjustors and see how they can help predict/ flag their fraudulent cases</a:t>
            </a:r>
          </a:p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Method of Analys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pulling in the external information, use them to check for historical fraud. 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86D322D-AF93-4948-B2E0-B8313D2020EB}"/>
              </a:ext>
            </a:extLst>
          </p:cNvPr>
          <p:cNvSpPr txBox="1">
            <a:spLocks/>
          </p:cNvSpPr>
          <p:nvPr/>
        </p:nvSpPr>
        <p:spPr>
          <a:xfrm>
            <a:off x="376238" y="5022850"/>
            <a:ext cx="4446606" cy="1600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b="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Analysis 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5879732-93EE-DE4C-AAF3-8267A45C79EA}"/>
              </a:ext>
            </a:extLst>
          </p:cNvPr>
          <p:cNvSpPr/>
          <p:nvPr/>
        </p:nvSpPr>
        <p:spPr>
          <a:xfrm>
            <a:off x="381960" y="1700213"/>
            <a:ext cx="838580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Picture Placeholder 29">
            <a:extLst>
              <a:ext uri="{FF2B5EF4-FFF2-40B4-BE49-F238E27FC236}">
                <a16:creationId xmlns:a16="http://schemas.microsoft.com/office/drawing/2014/main" id="{BF8DCE52-C7D7-BA45-8273-21FDFBAC65EF}"/>
              </a:ext>
            </a:extLst>
          </p:cNvPr>
          <p:cNvSpPr txBox="1">
            <a:spLocks/>
          </p:cNvSpPr>
          <p:nvPr/>
        </p:nvSpPr>
        <p:spPr>
          <a:xfrm>
            <a:off x="7848037" y="1852727"/>
            <a:ext cx="933121" cy="54927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BE3B05E-30F1-2D4B-9D70-1734C02C1689}"/>
              </a:ext>
            </a:extLst>
          </p:cNvPr>
          <p:cNvSpPr/>
          <p:nvPr/>
        </p:nvSpPr>
        <p:spPr>
          <a:xfrm>
            <a:off x="362842" y="4949366"/>
            <a:ext cx="838580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45BC9D7-769C-4C68-ADDB-52D74ADE0F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37" y="386496"/>
            <a:ext cx="381020" cy="387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92084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6237" y="823395"/>
            <a:ext cx="8391525" cy="479609"/>
          </a:xfrm>
        </p:spPr>
        <p:txBody>
          <a:bodyPr/>
          <a:lstStyle/>
          <a:p>
            <a:r>
              <a:rPr lang="en-US" sz="1400" dirty="0"/>
              <a:t>Users(Managers/ Adjusters) changing the Authority Limits Frequently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13916" y="413413"/>
            <a:ext cx="8391525" cy="334101"/>
          </a:xfrm>
        </p:spPr>
        <p:txBody>
          <a:bodyPr/>
          <a:lstStyle/>
          <a:p>
            <a:r>
              <a:rPr lang="en-US" dirty="0"/>
              <a:t>Fraud Scenario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D1524D-1F7F-E640-97E9-08381C5DD6FF}"/>
              </a:ext>
            </a:extLst>
          </p:cNvPr>
          <p:cNvSpPr txBox="1">
            <a:spLocks/>
          </p:cNvSpPr>
          <p:nvPr/>
        </p:nvSpPr>
        <p:spPr>
          <a:xfrm>
            <a:off x="381960" y="1752518"/>
            <a:ext cx="8385802" cy="25527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b="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Scenario Detai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user/ adjustor changes his/ her authority limit frequently and misuses that</a:t>
            </a:r>
          </a:p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Method of Analys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inding users with role as Manag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Keeping Track on the change in Authority limits of the Adjust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ind users who has access to Change the Authority Limits i.e., Who has role 'User Admin' Assigned to them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86D322D-AF93-4948-B2E0-B8313D2020EB}"/>
              </a:ext>
            </a:extLst>
          </p:cNvPr>
          <p:cNvSpPr txBox="1">
            <a:spLocks/>
          </p:cNvSpPr>
          <p:nvPr/>
        </p:nvSpPr>
        <p:spPr>
          <a:xfrm>
            <a:off x="376238" y="5022850"/>
            <a:ext cx="4446606" cy="1600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b="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Analysis 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5879732-93EE-DE4C-AAF3-8267A45C79EA}"/>
              </a:ext>
            </a:extLst>
          </p:cNvPr>
          <p:cNvSpPr/>
          <p:nvPr/>
        </p:nvSpPr>
        <p:spPr>
          <a:xfrm>
            <a:off x="381960" y="1700213"/>
            <a:ext cx="838580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Picture Placeholder 29">
            <a:extLst>
              <a:ext uri="{FF2B5EF4-FFF2-40B4-BE49-F238E27FC236}">
                <a16:creationId xmlns:a16="http://schemas.microsoft.com/office/drawing/2014/main" id="{BF8DCE52-C7D7-BA45-8273-21FDFBAC65EF}"/>
              </a:ext>
            </a:extLst>
          </p:cNvPr>
          <p:cNvSpPr txBox="1">
            <a:spLocks/>
          </p:cNvSpPr>
          <p:nvPr/>
        </p:nvSpPr>
        <p:spPr>
          <a:xfrm>
            <a:off x="7848037" y="1852727"/>
            <a:ext cx="933121" cy="54927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BE3B05E-30F1-2D4B-9D70-1734C02C1689}"/>
              </a:ext>
            </a:extLst>
          </p:cNvPr>
          <p:cNvSpPr/>
          <p:nvPr/>
        </p:nvSpPr>
        <p:spPr>
          <a:xfrm>
            <a:off x="362842" y="4949366"/>
            <a:ext cx="838580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45BC9D7-769C-4C68-ADDB-52D74ADE0F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37" y="386496"/>
            <a:ext cx="381020" cy="387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94696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1141C3C-2858-4A68-B224-4EE1F34E01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392473" y="5668886"/>
            <a:ext cx="5299217" cy="847471"/>
          </a:xfrm>
        </p:spPr>
        <p:txBody>
          <a:bodyPr/>
          <a:lstStyle/>
          <a:p>
            <a:pPr>
              <a:lnSpc>
                <a:spcPts val="900"/>
              </a:lnSpc>
            </a:pPr>
            <a:r>
              <a:rPr lang="en-US" sz="700" b="1" dirty="0"/>
              <a:t>About Deloitte</a:t>
            </a:r>
            <a:br>
              <a:rPr lang="en-US" sz="700" dirty="0"/>
            </a:br>
            <a:r>
              <a:rPr lang="en-US" sz="700" dirty="0"/>
              <a:t>Deloitte refers to one or more of Deloitte Touche Tohmatsu Limited, a UK private company limited by guarantee, and its network of member firms, each of which is a legally separate and independent entity. Please see www.deloitte.com/about for a detailed description of the legal structure of Deloitte Touche Tohmatsu Limited and its member firms. Please see www.deloitte.com/us/about for a detailed description of the legal structure of Deloitte LLP and its subsidiaries. Certain services may not be available to attest clients under the rules and regulations of public accounting.</a:t>
            </a:r>
          </a:p>
        </p:txBody>
      </p:sp>
    </p:spTree>
    <p:extLst>
      <p:ext uri="{BB962C8B-B14F-4D97-AF65-F5344CB8AC3E}">
        <p14:creationId xmlns:p14="http://schemas.microsoft.com/office/powerpoint/2010/main" val="350351460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6237" y="823395"/>
            <a:ext cx="8391525" cy="479609"/>
          </a:xfrm>
        </p:spPr>
        <p:txBody>
          <a:bodyPr/>
          <a:lstStyle/>
          <a:p>
            <a:r>
              <a:rPr lang="en-US" sz="1400" dirty="0"/>
              <a:t>Number of approvals that a claim goes through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13916" y="413413"/>
            <a:ext cx="8391525" cy="334101"/>
          </a:xfrm>
        </p:spPr>
        <p:txBody>
          <a:bodyPr/>
          <a:lstStyle/>
          <a:p>
            <a:r>
              <a:rPr lang="en-US" dirty="0"/>
              <a:t>Fraud Scenario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D1524D-1F7F-E640-97E9-08381C5DD6FF}"/>
              </a:ext>
            </a:extLst>
          </p:cNvPr>
          <p:cNvSpPr txBox="1">
            <a:spLocks/>
          </p:cNvSpPr>
          <p:nvPr/>
        </p:nvSpPr>
        <p:spPr>
          <a:xfrm>
            <a:off x="381960" y="1752519"/>
            <a:ext cx="8385802" cy="1695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b="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Scenario Detai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ummary of the # of approvals that a claim goes through and the distribution of the same</a:t>
            </a:r>
          </a:p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Method of Analysis</a:t>
            </a: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5029200" algn="r"/>
              </a:tabLst>
            </a:pPr>
            <a:r>
              <a:rPr lang="en-US" dirty="0"/>
              <a:t>Find the # of approvals each claim has gone through and plot a pie chart of the same to see the distribution</a:t>
            </a: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5029200" algn="r"/>
              </a:tabLst>
            </a:pPr>
            <a:endParaRPr lang="en-US" dirty="0"/>
          </a:p>
          <a:p>
            <a:pPr>
              <a:spcAft>
                <a:spcPts val="400"/>
              </a:spcAft>
              <a:tabLst>
                <a:tab pos="5029200" algn="r"/>
              </a:tabLst>
            </a:pP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86D322D-AF93-4948-B2E0-B8313D2020EB}"/>
              </a:ext>
            </a:extLst>
          </p:cNvPr>
          <p:cNvSpPr txBox="1">
            <a:spLocks/>
          </p:cNvSpPr>
          <p:nvPr/>
        </p:nvSpPr>
        <p:spPr>
          <a:xfrm>
            <a:off x="376237" y="3086728"/>
            <a:ext cx="5757863" cy="27044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b="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Analysis Results</a:t>
            </a: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5029200" algn="r"/>
              </a:tabLst>
            </a:pPr>
            <a:r>
              <a:rPr lang="en-US" dirty="0"/>
              <a:t>Maximum (~63%) of the claims go through 2 approvals.</a:t>
            </a: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5029200" algn="r"/>
              </a:tabLst>
            </a:pPr>
            <a:r>
              <a:rPr lang="en-US" dirty="0"/>
              <a:t>About 22% go through directly by the assigned user/ adjustor.</a:t>
            </a: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5029200" algn="r"/>
              </a:tabLst>
            </a:pPr>
            <a:r>
              <a:rPr lang="en-US" dirty="0"/>
              <a:t>The % of claims that go through 3 or more users is a marginal ~2.5%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5879732-93EE-DE4C-AAF3-8267A45C79EA}"/>
              </a:ext>
            </a:extLst>
          </p:cNvPr>
          <p:cNvSpPr/>
          <p:nvPr/>
        </p:nvSpPr>
        <p:spPr>
          <a:xfrm>
            <a:off x="381960" y="1700213"/>
            <a:ext cx="838580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Picture Placeholder 29">
            <a:extLst>
              <a:ext uri="{FF2B5EF4-FFF2-40B4-BE49-F238E27FC236}">
                <a16:creationId xmlns:a16="http://schemas.microsoft.com/office/drawing/2014/main" id="{BF8DCE52-C7D7-BA45-8273-21FDFBAC65EF}"/>
              </a:ext>
            </a:extLst>
          </p:cNvPr>
          <p:cNvSpPr txBox="1">
            <a:spLocks/>
          </p:cNvSpPr>
          <p:nvPr/>
        </p:nvSpPr>
        <p:spPr>
          <a:xfrm>
            <a:off x="7848037" y="1852727"/>
            <a:ext cx="933121" cy="54927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BE3B05E-30F1-2D4B-9D70-1734C02C1689}"/>
              </a:ext>
            </a:extLst>
          </p:cNvPr>
          <p:cNvSpPr/>
          <p:nvPr/>
        </p:nvSpPr>
        <p:spPr>
          <a:xfrm>
            <a:off x="376237" y="2984024"/>
            <a:ext cx="838580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45BC9D7-769C-4C68-ADDB-52D74ADE0F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37" y="386496"/>
            <a:ext cx="381020" cy="38737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1055A33-4E85-41F1-8FF0-88F24256618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028" y="3212787"/>
            <a:ext cx="1958415" cy="1958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68367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6237" y="823395"/>
            <a:ext cx="8391525" cy="479609"/>
          </a:xfrm>
        </p:spPr>
        <p:txBody>
          <a:bodyPr/>
          <a:lstStyle/>
          <a:p>
            <a:r>
              <a:rPr lang="en-US" sz="1400" dirty="0"/>
              <a:t>Manual payments Fraud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13916" y="413413"/>
            <a:ext cx="8391525" cy="334101"/>
          </a:xfrm>
        </p:spPr>
        <p:txBody>
          <a:bodyPr/>
          <a:lstStyle/>
          <a:p>
            <a:r>
              <a:rPr lang="en-US" dirty="0"/>
              <a:t>Fraud Scenario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D1524D-1F7F-E640-97E9-08381C5DD6FF}"/>
              </a:ext>
            </a:extLst>
          </p:cNvPr>
          <p:cNvSpPr txBox="1">
            <a:spLocks/>
          </p:cNvSpPr>
          <p:nvPr/>
        </p:nvSpPr>
        <p:spPr>
          <a:xfrm>
            <a:off x="381960" y="1752518"/>
            <a:ext cx="8385802" cy="25527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b="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Scenario Detai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anual checks are made without any management approval or with limited approval/sign-off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anual checks are deliberately made to the wrong parties.</a:t>
            </a:r>
          </a:p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Method of Analysis</a:t>
            </a: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5029200" algn="r"/>
              </a:tabLst>
            </a:pPr>
            <a:r>
              <a:rPr lang="en-US" dirty="0"/>
              <a:t>Transactions per claim handler – assuming a similar caseload, any noticeable changes in average transactions (</a:t>
            </a:r>
            <a:r>
              <a:rPr lang="en-US" dirty="0" err="1"/>
              <a:t>i.e</a:t>
            </a:r>
            <a:r>
              <a:rPr lang="en-US" dirty="0"/>
              <a:t> checks cut) can raise a flag. </a:t>
            </a: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5029200" algn="r"/>
              </a:tabLst>
            </a:pPr>
            <a:r>
              <a:rPr lang="en-US" dirty="0"/>
              <a:t>For every adjuster, compare the count and volume of manual payments made against others for similar cases. </a:t>
            </a: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5029200" algn="r"/>
              </a:tabLst>
            </a:pPr>
            <a:r>
              <a:rPr lang="en-US" dirty="0"/>
              <a:t>Showcase the count of adjustors in buckets of manual payment % amounts</a:t>
            </a: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5029200" algn="r"/>
              </a:tabLst>
            </a:pPr>
            <a:r>
              <a:rPr lang="en-US" dirty="0"/>
              <a:t>Named parties in checks and Insured names should be same.</a:t>
            </a: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5029200" algn="r"/>
              </a:tabLst>
            </a:pPr>
            <a:endParaRPr lang="en-US" dirty="0"/>
          </a:p>
          <a:p>
            <a:pPr>
              <a:spcAft>
                <a:spcPts val="400"/>
              </a:spcAft>
              <a:tabLst>
                <a:tab pos="5029200" algn="r"/>
              </a:tabLst>
            </a:pP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86D322D-AF93-4948-B2E0-B8313D2020EB}"/>
              </a:ext>
            </a:extLst>
          </p:cNvPr>
          <p:cNvSpPr txBox="1">
            <a:spLocks/>
          </p:cNvSpPr>
          <p:nvPr/>
        </p:nvSpPr>
        <p:spPr>
          <a:xfrm>
            <a:off x="376238" y="4410794"/>
            <a:ext cx="4446606" cy="13804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b="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Analysis Results</a:t>
            </a: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5029200" algn="r"/>
              </a:tabLst>
            </a:pPr>
            <a:r>
              <a:rPr lang="en-US" dirty="0"/>
              <a:t>Only one adjustor in the test data had made manual payment </a:t>
            </a: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5029200" algn="r"/>
              </a:tabLst>
            </a:pPr>
            <a:r>
              <a:rPr lang="en-US" dirty="0"/>
              <a:t>This manual payment was in the range of 10-15% of the total payments made from that adjusto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5879732-93EE-DE4C-AAF3-8267A45C79EA}"/>
              </a:ext>
            </a:extLst>
          </p:cNvPr>
          <p:cNvSpPr/>
          <p:nvPr/>
        </p:nvSpPr>
        <p:spPr>
          <a:xfrm>
            <a:off x="381960" y="1700213"/>
            <a:ext cx="838580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Picture Placeholder 29">
            <a:extLst>
              <a:ext uri="{FF2B5EF4-FFF2-40B4-BE49-F238E27FC236}">
                <a16:creationId xmlns:a16="http://schemas.microsoft.com/office/drawing/2014/main" id="{BF8DCE52-C7D7-BA45-8273-21FDFBAC65EF}"/>
              </a:ext>
            </a:extLst>
          </p:cNvPr>
          <p:cNvSpPr txBox="1">
            <a:spLocks/>
          </p:cNvSpPr>
          <p:nvPr/>
        </p:nvSpPr>
        <p:spPr>
          <a:xfrm>
            <a:off x="7848037" y="1852727"/>
            <a:ext cx="933121" cy="54927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BE3B05E-30F1-2D4B-9D70-1734C02C1689}"/>
              </a:ext>
            </a:extLst>
          </p:cNvPr>
          <p:cNvSpPr/>
          <p:nvPr/>
        </p:nvSpPr>
        <p:spPr>
          <a:xfrm>
            <a:off x="395356" y="4252255"/>
            <a:ext cx="838580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45BC9D7-769C-4C68-ADDB-52D74ADE0F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37" y="386496"/>
            <a:ext cx="381020" cy="387370"/>
          </a:xfrm>
          <a:prstGeom prst="rect">
            <a:avLst/>
          </a:prstGeom>
        </p:spPr>
      </p:pic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8BD6C989-90F6-462D-ABD6-79C9CF52102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66317565"/>
              </p:ext>
            </p:extLst>
          </p:nvPr>
        </p:nvGraphicFramePr>
        <p:xfrm>
          <a:off x="4822843" y="4404769"/>
          <a:ext cx="3889358" cy="23135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9299608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6237" y="823395"/>
            <a:ext cx="8391525" cy="479609"/>
          </a:xfrm>
        </p:spPr>
        <p:txBody>
          <a:bodyPr/>
          <a:lstStyle/>
          <a:p>
            <a:r>
              <a:rPr lang="en-US" sz="1400" dirty="0"/>
              <a:t>Patterns of historical payments for each adjustor compared to the other adjustors (and this is done by experience level)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13916" y="413413"/>
            <a:ext cx="8391525" cy="334101"/>
          </a:xfrm>
        </p:spPr>
        <p:txBody>
          <a:bodyPr/>
          <a:lstStyle/>
          <a:p>
            <a:r>
              <a:rPr lang="en-US" dirty="0"/>
              <a:t>Fraud Scenario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D1524D-1F7F-E640-97E9-08381C5DD6FF}"/>
              </a:ext>
            </a:extLst>
          </p:cNvPr>
          <p:cNvSpPr txBox="1">
            <a:spLocks/>
          </p:cNvSpPr>
          <p:nvPr/>
        </p:nvSpPr>
        <p:spPr>
          <a:xfrm>
            <a:off x="381960" y="1752518"/>
            <a:ext cx="8385802" cy="25527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b="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Scenario Detai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f in a non-catastrophe scenario, one adjustor has made 100 payments of $150 each for a certain type of accident while the average payment of all other adjustors for such an event is only $50. Then a flag to be raised and investigated further.</a:t>
            </a:r>
          </a:p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Method of Analysis</a:t>
            </a: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5029200" algn="r"/>
              </a:tabLst>
            </a:pPr>
            <a:r>
              <a:rPr lang="en-US" dirty="0"/>
              <a:t>Compare the payments made by loss type for each adjustor by analyzing their payments distribution. </a:t>
            </a: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5029200" algn="r"/>
              </a:tabLst>
            </a:pPr>
            <a:r>
              <a:rPr lang="en-US" dirty="0"/>
              <a:t>Compare the payments of each adjustor with the Mean + SD/ Mean + 2SD/ Mean + 3SD of all the adjustors in that cohort to flag the outliers.</a:t>
            </a: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5029200" algn="r"/>
              </a:tabLst>
            </a:pPr>
            <a:r>
              <a:rPr lang="en-US" dirty="0"/>
              <a:t>(Experience level unavailable in the data hence done it overall).</a:t>
            </a: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5029200" algn="r"/>
              </a:tabLst>
            </a:pPr>
            <a:endParaRPr lang="en-US" dirty="0"/>
          </a:p>
          <a:p>
            <a:pPr>
              <a:spcAft>
                <a:spcPts val="400"/>
              </a:spcAft>
              <a:tabLst>
                <a:tab pos="5029200" algn="r"/>
              </a:tabLst>
            </a:pP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86D322D-AF93-4948-B2E0-B8313D2020EB}"/>
              </a:ext>
            </a:extLst>
          </p:cNvPr>
          <p:cNvSpPr txBox="1">
            <a:spLocks/>
          </p:cNvSpPr>
          <p:nvPr/>
        </p:nvSpPr>
        <p:spPr>
          <a:xfrm>
            <a:off x="376238" y="3954774"/>
            <a:ext cx="4446606" cy="18364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b="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Analysis Results</a:t>
            </a: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5029200" algn="r"/>
              </a:tabLst>
            </a:pPr>
            <a:r>
              <a:rPr lang="en-US" dirty="0"/>
              <a:t>Maximum payments by adjustors (above the threshold) have been made for loss Cause ‘Explosion’ and ‘Burn or Scald’ </a:t>
            </a: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5029200" algn="r"/>
              </a:tabLst>
            </a:pPr>
            <a:r>
              <a:rPr lang="en-US" dirty="0"/>
              <a:t>Further deep dive should be done on these as next step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5879732-93EE-DE4C-AAF3-8267A45C79EA}"/>
              </a:ext>
            </a:extLst>
          </p:cNvPr>
          <p:cNvSpPr/>
          <p:nvPr/>
        </p:nvSpPr>
        <p:spPr>
          <a:xfrm>
            <a:off x="381960" y="1700213"/>
            <a:ext cx="838580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Picture Placeholder 29">
            <a:extLst>
              <a:ext uri="{FF2B5EF4-FFF2-40B4-BE49-F238E27FC236}">
                <a16:creationId xmlns:a16="http://schemas.microsoft.com/office/drawing/2014/main" id="{BF8DCE52-C7D7-BA45-8273-21FDFBAC65EF}"/>
              </a:ext>
            </a:extLst>
          </p:cNvPr>
          <p:cNvSpPr txBox="1">
            <a:spLocks/>
          </p:cNvSpPr>
          <p:nvPr/>
        </p:nvSpPr>
        <p:spPr>
          <a:xfrm>
            <a:off x="7848037" y="1852727"/>
            <a:ext cx="933121" cy="54927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BE3B05E-30F1-2D4B-9D70-1734C02C1689}"/>
              </a:ext>
            </a:extLst>
          </p:cNvPr>
          <p:cNvSpPr/>
          <p:nvPr/>
        </p:nvSpPr>
        <p:spPr>
          <a:xfrm>
            <a:off x="326399" y="3802260"/>
            <a:ext cx="838580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45BC9D7-769C-4C68-ADDB-52D74ADE0F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37" y="386496"/>
            <a:ext cx="381020" cy="387370"/>
          </a:xfrm>
          <a:prstGeom prst="rect">
            <a:avLst/>
          </a:prstGeom>
        </p:spPr>
      </p:pic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94E82E67-3406-42BB-BA53-13E5E1CAB2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43508196"/>
              </p:ext>
            </p:extLst>
          </p:nvPr>
        </p:nvGraphicFramePr>
        <p:xfrm>
          <a:off x="4878405" y="3855304"/>
          <a:ext cx="3902753" cy="28693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06096920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6237" y="823395"/>
            <a:ext cx="8391525" cy="479609"/>
          </a:xfrm>
        </p:spPr>
        <p:txBody>
          <a:bodyPr/>
          <a:lstStyle/>
          <a:p>
            <a:r>
              <a:rPr lang="en-US" sz="1400" dirty="0"/>
              <a:t>Multiple payments to same party/vendor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13916" y="413413"/>
            <a:ext cx="8391525" cy="334101"/>
          </a:xfrm>
        </p:spPr>
        <p:txBody>
          <a:bodyPr/>
          <a:lstStyle/>
          <a:p>
            <a:r>
              <a:rPr lang="en-US" dirty="0"/>
              <a:t>Fraud Scenario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D1524D-1F7F-E640-97E9-08381C5DD6FF}"/>
              </a:ext>
            </a:extLst>
          </p:cNvPr>
          <p:cNvSpPr txBox="1">
            <a:spLocks/>
          </p:cNvSpPr>
          <p:nvPr/>
        </p:nvSpPr>
        <p:spPr>
          <a:xfrm>
            <a:off x="381960" y="1752518"/>
            <a:ext cx="8385802" cy="25527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b="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Scenario Detai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dentify those adjustor/insured combinations where there is a high frequency/ severity of payments made (compared to others for the same adjustor for similar events/ cause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djustor- Receiver fraud Pai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djustor- Claimant fraud Pair</a:t>
            </a:r>
          </a:p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Method of Analys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rollup the claim payments for each Insured/claimant/Receiver and identify those combinations of Insured/claimant/Receiver – Adjustor that have the highest frequency compared to other adjustors that they have faced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n roll that up by adjustor level to see which adjustor has the highest count of customers (for which they have approved the most) against them. Take </a:t>
            </a:r>
            <a:r>
              <a:rPr lang="en-US" dirty="0" err="1"/>
              <a:t>Mean+SD</a:t>
            </a:r>
            <a:r>
              <a:rPr lang="en-US" dirty="0"/>
              <a:t> as the threshold to flag those adjustors above the threshold as compared with the other adjustor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 be done by adjustor experience level.</a:t>
            </a:r>
          </a:p>
          <a:p>
            <a:pPr>
              <a:spcAft>
                <a:spcPts val="400"/>
              </a:spcAft>
              <a:tabLst>
                <a:tab pos="5029200" algn="r"/>
              </a:tabLst>
            </a:pP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86D322D-AF93-4948-B2E0-B8313D2020EB}"/>
              </a:ext>
            </a:extLst>
          </p:cNvPr>
          <p:cNvSpPr txBox="1">
            <a:spLocks/>
          </p:cNvSpPr>
          <p:nvPr/>
        </p:nvSpPr>
        <p:spPr>
          <a:xfrm>
            <a:off x="376238" y="5022850"/>
            <a:ext cx="4446606" cy="1600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b="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Analysis 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5879732-93EE-DE4C-AAF3-8267A45C79EA}"/>
              </a:ext>
            </a:extLst>
          </p:cNvPr>
          <p:cNvSpPr/>
          <p:nvPr/>
        </p:nvSpPr>
        <p:spPr>
          <a:xfrm>
            <a:off x="381960" y="1700213"/>
            <a:ext cx="838580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Picture Placeholder 29">
            <a:extLst>
              <a:ext uri="{FF2B5EF4-FFF2-40B4-BE49-F238E27FC236}">
                <a16:creationId xmlns:a16="http://schemas.microsoft.com/office/drawing/2014/main" id="{BF8DCE52-C7D7-BA45-8273-21FDFBAC65EF}"/>
              </a:ext>
            </a:extLst>
          </p:cNvPr>
          <p:cNvSpPr txBox="1">
            <a:spLocks/>
          </p:cNvSpPr>
          <p:nvPr/>
        </p:nvSpPr>
        <p:spPr>
          <a:xfrm>
            <a:off x="7848037" y="1852727"/>
            <a:ext cx="933121" cy="54927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BE3B05E-30F1-2D4B-9D70-1734C02C1689}"/>
              </a:ext>
            </a:extLst>
          </p:cNvPr>
          <p:cNvSpPr/>
          <p:nvPr/>
        </p:nvSpPr>
        <p:spPr>
          <a:xfrm>
            <a:off x="362842" y="4949366"/>
            <a:ext cx="838580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45BC9D7-769C-4C68-ADDB-52D74ADE0F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37" y="386496"/>
            <a:ext cx="381020" cy="387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55150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6237" y="823395"/>
            <a:ext cx="8391525" cy="479609"/>
          </a:xfrm>
        </p:spPr>
        <p:txBody>
          <a:bodyPr/>
          <a:lstStyle/>
          <a:p>
            <a:r>
              <a:rPr lang="en-US" sz="1400" dirty="0"/>
              <a:t>Advisory Allowance Fraud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13916" y="413413"/>
            <a:ext cx="8391525" cy="334101"/>
          </a:xfrm>
        </p:spPr>
        <p:txBody>
          <a:bodyPr/>
          <a:lstStyle/>
          <a:p>
            <a:r>
              <a:rPr lang="en-US" dirty="0"/>
              <a:t>Fraud Scenario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D1524D-1F7F-E640-97E9-08381C5DD6FF}"/>
              </a:ext>
            </a:extLst>
          </p:cNvPr>
          <p:cNvSpPr txBox="1">
            <a:spLocks/>
          </p:cNvSpPr>
          <p:nvPr/>
        </p:nvSpPr>
        <p:spPr>
          <a:xfrm>
            <a:off x="381960" y="1752518"/>
            <a:ext cx="8385802" cy="25527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b="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Scenario Detai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f the Insured is a general contractor who is working with 3-4 types of subcontractors, adjusters are allowed to bump the claim amount by a certain % as an advisory allowance. There is an abuse in these types of claims.</a:t>
            </a:r>
          </a:p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Method of Analys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adjuster is doing it more often than others. Identify this by the frequency distribution of the adjuster’s claimed advisory allowanc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lso check if the adjuster is doing it for a specific insured or small group of insureds (multiple times)</a:t>
            </a:r>
          </a:p>
          <a:p>
            <a:pPr>
              <a:spcAft>
                <a:spcPts val="400"/>
              </a:spcAft>
              <a:tabLst>
                <a:tab pos="5029200" algn="r"/>
              </a:tabLst>
            </a:pP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86D322D-AF93-4948-B2E0-B8313D2020EB}"/>
              </a:ext>
            </a:extLst>
          </p:cNvPr>
          <p:cNvSpPr txBox="1">
            <a:spLocks/>
          </p:cNvSpPr>
          <p:nvPr/>
        </p:nvSpPr>
        <p:spPr>
          <a:xfrm>
            <a:off x="376238" y="5022850"/>
            <a:ext cx="4446606" cy="1600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b="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Analysis 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5879732-93EE-DE4C-AAF3-8267A45C79EA}"/>
              </a:ext>
            </a:extLst>
          </p:cNvPr>
          <p:cNvSpPr/>
          <p:nvPr/>
        </p:nvSpPr>
        <p:spPr>
          <a:xfrm>
            <a:off x="381960" y="1700213"/>
            <a:ext cx="838580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Picture Placeholder 29">
            <a:extLst>
              <a:ext uri="{FF2B5EF4-FFF2-40B4-BE49-F238E27FC236}">
                <a16:creationId xmlns:a16="http://schemas.microsoft.com/office/drawing/2014/main" id="{BF8DCE52-C7D7-BA45-8273-21FDFBAC65EF}"/>
              </a:ext>
            </a:extLst>
          </p:cNvPr>
          <p:cNvSpPr txBox="1">
            <a:spLocks/>
          </p:cNvSpPr>
          <p:nvPr/>
        </p:nvSpPr>
        <p:spPr>
          <a:xfrm>
            <a:off x="7848037" y="1852727"/>
            <a:ext cx="933121" cy="54927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BE3B05E-30F1-2D4B-9D70-1734C02C1689}"/>
              </a:ext>
            </a:extLst>
          </p:cNvPr>
          <p:cNvSpPr/>
          <p:nvPr/>
        </p:nvSpPr>
        <p:spPr>
          <a:xfrm>
            <a:off x="362842" y="4949366"/>
            <a:ext cx="838580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45BC9D7-769C-4C68-ADDB-52D74ADE0F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37" y="386496"/>
            <a:ext cx="381020" cy="387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57882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6237" y="823395"/>
            <a:ext cx="8391525" cy="479609"/>
          </a:xfrm>
        </p:spPr>
        <p:txBody>
          <a:bodyPr/>
          <a:lstStyle/>
          <a:p>
            <a:r>
              <a:rPr lang="en-US" sz="1400" dirty="0"/>
              <a:t>Authority level fraud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13916" y="413413"/>
            <a:ext cx="8391525" cy="334101"/>
          </a:xfrm>
        </p:spPr>
        <p:txBody>
          <a:bodyPr/>
          <a:lstStyle/>
          <a:p>
            <a:r>
              <a:rPr lang="en-US" dirty="0"/>
              <a:t>Fraud Scenario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D1524D-1F7F-E640-97E9-08381C5DD6FF}"/>
              </a:ext>
            </a:extLst>
          </p:cNvPr>
          <p:cNvSpPr txBox="1">
            <a:spLocks/>
          </p:cNvSpPr>
          <p:nvPr/>
        </p:nvSpPr>
        <p:spPr>
          <a:xfrm>
            <a:off x="381960" y="1752518"/>
            <a:ext cx="8385802" cy="25527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b="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Scenario Detai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me adjuster privileges are changed immediately following catastrophes (hurricanes, tornadoes, floods, etc.) that occurre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djuster is behaving differently in handling catastrophe claims which he/she normally wouldn’t do.</a:t>
            </a:r>
          </a:p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Method of Analys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ompare payment distribution of each adjuster against the other adjusters in that region and see the deviation from their allowance limi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ompare payment distribution by adjuster before and after catastrophe, or prior catastrophes (within a 1-3 year window)</a:t>
            </a:r>
          </a:p>
          <a:p>
            <a:pPr>
              <a:spcAft>
                <a:spcPts val="400"/>
              </a:spcAft>
              <a:tabLst>
                <a:tab pos="5029200" algn="r"/>
              </a:tabLst>
            </a:pP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86D322D-AF93-4948-B2E0-B8313D2020EB}"/>
              </a:ext>
            </a:extLst>
          </p:cNvPr>
          <p:cNvSpPr txBox="1">
            <a:spLocks/>
          </p:cNvSpPr>
          <p:nvPr/>
        </p:nvSpPr>
        <p:spPr>
          <a:xfrm>
            <a:off x="376238" y="5022850"/>
            <a:ext cx="4446606" cy="1600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b="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Analysis 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5879732-93EE-DE4C-AAF3-8267A45C79EA}"/>
              </a:ext>
            </a:extLst>
          </p:cNvPr>
          <p:cNvSpPr/>
          <p:nvPr/>
        </p:nvSpPr>
        <p:spPr>
          <a:xfrm>
            <a:off x="381960" y="1700213"/>
            <a:ext cx="838580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Picture Placeholder 29">
            <a:extLst>
              <a:ext uri="{FF2B5EF4-FFF2-40B4-BE49-F238E27FC236}">
                <a16:creationId xmlns:a16="http://schemas.microsoft.com/office/drawing/2014/main" id="{BF8DCE52-C7D7-BA45-8273-21FDFBAC65EF}"/>
              </a:ext>
            </a:extLst>
          </p:cNvPr>
          <p:cNvSpPr txBox="1">
            <a:spLocks/>
          </p:cNvSpPr>
          <p:nvPr/>
        </p:nvSpPr>
        <p:spPr>
          <a:xfrm>
            <a:off x="7848037" y="1852727"/>
            <a:ext cx="933121" cy="54927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BE3B05E-30F1-2D4B-9D70-1734C02C1689}"/>
              </a:ext>
            </a:extLst>
          </p:cNvPr>
          <p:cNvSpPr/>
          <p:nvPr/>
        </p:nvSpPr>
        <p:spPr>
          <a:xfrm>
            <a:off x="362842" y="4949366"/>
            <a:ext cx="838580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45BC9D7-769C-4C68-ADDB-52D74ADE0F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37" y="386496"/>
            <a:ext cx="381020" cy="387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42359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6237" y="823395"/>
            <a:ext cx="8391525" cy="479609"/>
          </a:xfrm>
        </p:spPr>
        <p:txBody>
          <a:bodyPr/>
          <a:lstStyle/>
          <a:p>
            <a:r>
              <a:rPr lang="en-US" sz="1400" dirty="0"/>
              <a:t>Adjuster overpaying the insured than the claimed amount (staying within their authorization limit)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13916" y="413413"/>
            <a:ext cx="8391525" cy="334101"/>
          </a:xfrm>
        </p:spPr>
        <p:txBody>
          <a:bodyPr/>
          <a:lstStyle/>
          <a:p>
            <a:r>
              <a:rPr lang="en-US" dirty="0"/>
              <a:t>Fraud Scenario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D1524D-1F7F-E640-97E9-08381C5DD6FF}"/>
              </a:ext>
            </a:extLst>
          </p:cNvPr>
          <p:cNvSpPr txBox="1">
            <a:spLocks/>
          </p:cNvSpPr>
          <p:nvPr/>
        </p:nvSpPr>
        <p:spPr>
          <a:xfrm>
            <a:off x="381960" y="1752518"/>
            <a:ext cx="8385802" cy="25527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b="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Scenario Detai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f an adjustor has a limit of $500 and an insured claims $300 </a:t>
            </a:r>
            <a:r>
              <a:rPr lang="en-US" dirty="0" err="1"/>
              <a:t>fro</a:t>
            </a:r>
            <a:r>
              <a:rPr lang="en-US" dirty="0"/>
              <a:t> him/her. The adjustor approves a payment of $450 with a fraudulent intention. </a:t>
            </a:r>
          </a:p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Method of Analys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ind the differences between the claim amount, paid amount and authorization limit for each claim and identify frequent differenc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ssuming the claimed amount from the first reserves setup as the proxy (need to confirm this with Nick).</a:t>
            </a:r>
          </a:p>
          <a:p>
            <a:pPr>
              <a:spcAft>
                <a:spcPts val="400"/>
              </a:spcAft>
              <a:tabLst>
                <a:tab pos="5029200" algn="r"/>
              </a:tabLst>
            </a:pP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86D322D-AF93-4948-B2E0-B8313D2020EB}"/>
              </a:ext>
            </a:extLst>
          </p:cNvPr>
          <p:cNvSpPr txBox="1">
            <a:spLocks/>
          </p:cNvSpPr>
          <p:nvPr/>
        </p:nvSpPr>
        <p:spPr>
          <a:xfrm>
            <a:off x="376238" y="5022850"/>
            <a:ext cx="4446606" cy="1600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b="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Analysis 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5879732-93EE-DE4C-AAF3-8267A45C79EA}"/>
              </a:ext>
            </a:extLst>
          </p:cNvPr>
          <p:cNvSpPr/>
          <p:nvPr/>
        </p:nvSpPr>
        <p:spPr>
          <a:xfrm>
            <a:off x="381960" y="1700213"/>
            <a:ext cx="838580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Picture Placeholder 29">
            <a:extLst>
              <a:ext uri="{FF2B5EF4-FFF2-40B4-BE49-F238E27FC236}">
                <a16:creationId xmlns:a16="http://schemas.microsoft.com/office/drawing/2014/main" id="{BF8DCE52-C7D7-BA45-8273-21FDFBAC65EF}"/>
              </a:ext>
            </a:extLst>
          </p:cNvPr>
          <p:cNvSpPr txBox="1">
            <a:spLocks/>
          </p:cNvSpPr>
          <p:nvPr/>
        </p:nvSpPr>
        <p:spPr>
          <a:xfrm>
            <a:off x="7848037" y="1852727"/>
            <a:ext cx="933121" cy="54927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BE3B05E-30F1-2D4B-9D70-1734C02C1689}"/>
              </a:ext>
            </a:extLst>
          </p:cNvPr>
          <p:cNvSpPr/>
          <p:nvPr/>
        </p:nvSpPr>
        <p:spPr>
          <a:xfrm>
            <a:off x="362842" y="4949366"/>
            <a:ext cx="838580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45BC9D7-769C-4C68-ADDB-52D74ADE0F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37" y="386496"/>
            <a:ext cx="381020" cy="387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41433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6237" y="823395"/>
            <a:ext cx="8391525" cy="479609"/>
          </a:xfrm>
        </p:spPr>
        <p:txBody>
          <a:bodyPr/>
          <a:lstStyle/>
          <a:p>
            <a:r>
              <a:rPr lang="en-US" sz="1400" dirty="0"/>
              <a:t>Adjustors with Bad history of frauds (Number of claims guidelines/ rules broken)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13916" y="413413"/>
            <a:ext cx="8391525" cy="334101"/>
          </a:xfrm>
        </p:spPr>
        <p:txBody>
          <a:bodyPr/>
          <a:lstStyle/>
          <a:p>
            <a:r>
              <a:rPr lang="en-US" dirty="0"/>
              <a:t>Fraud Scenario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D1524D-1F7F-E640-97E9-08381C5DD6FF}"/>
              </a:ext>
            </a:extLst>
          </p:cNvPr>
          <p:cNvSpPr txBox="1">
            <a:spLocks/>
          </p:cNvSpPr>
          <p:nvPr/>
        </p:nvSpPr>
        <p:spPr>
          <a:xfrm>
            <a:off x="381960" y="1752519"/>
            <a:ext cx="8385802" cy="13589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b="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Scenario Detai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f there are a lot of complaints/ historical fraud cases against an adjustor – flag to be raised. </a:t>
            </a:r>
          </a:p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Method of Analysis</a:t>
            </a:r>
          </a:p>
          <a:p>
            <a:r>
              <a:rPr lang="en-US" dirty="0"/>
              <a:t>Check the fraud/ conduct of each adjustor to look for count of fraudulent/ mis-conduct cases for each adjustor. Ones with a high # of mis-conduct historical cases are the one’s to be flagged.</a:t>
            </a:r>
          </a:p>
          <a:p>
            <a:pPr>
              <a:spcAft>
                <a:spcPts val="400"/>
              </a:spcAft>
              <a:tabLst>
                <a:tab pos="5029200" algn="r"/>
              </a:tabLst>
            </a:pP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86D322D-AF93-4948-B2E0-B8313D2020EB}"/>
              </a:ext>
            </a:extLst>
          </p:cNvPr>
          <p:cNvSpPr txBox="1">
            <a:spLocks/>
          </p:cNvSpPr>
          <p:nvPr/>
        </p:nvSpPr>
        <p:spPr>
          <a:xfrm>
            <a:off x="376238" y="5022850"/>
            <a:ext cx="4446606" cy="1600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b="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  <a:tabLst>
                <a:tab pos="5029200" algn="r"/>
              </a:tabLst>
            </a:pPr>
            <a:r>
              <a:rPr lang="en-US" b="1" dirty="0"/>
              <a:t>Analysis 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5879732-93EE-DE4C-AAF3-8267A45C79EA}"/>
              </a:ext>
            </a:extLst>
          </p:cNvPr>
          <p:cNvSpPr/>
          <p:nvPr/>
        </p:nvSpPr>
        <p:spPr>
          <a:xfrm>
            <a:off x="381960" y="1700213"/>
            <a:ext cx="838580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Picture Placeholder 29">
            <a:extLst>
              <a:ext uri="{FF2B5EF4-FFF2-40B4-BE49-F238E27FC236}">
                <a16:creationId xmlns:a16="http://schemas.microsoft.com/office/drawing/2014/main" id="{BF8DCE52-C7D7-BA45-8273-21FDFBAC65EF}"/>
              </a:ext>
            </a:extLst>
          </p:cNvPr>
          <p:cNvSpPr txBox="1">
            <a:spLocks/>
          </p:cNvSpPr>
          <p:nvPr/>
        </p:nvSpPr>
        <p:spPr>
          <a:xfrm>
            <a:off x="7848037" y="1852727"/>
            <a:ext cx="933121" cy="54927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BE3B05E-30F1-2D4B-9D70-1734C02C1689}"/>
              </a:ext>
            </a:extLst>
          </p:cNvPr>
          <p:cNvSpPr/>
          <p:nvPr/>
        </p:nvSpPr>
        <p:spPr>
          <a:xfrm>
            <a:off x="362842" y="4949366"/>
            <a:ext cx="838580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45BC9D7-769C-4C68-ADDB-52D74ADE0F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37" y="386496"/>
            <a:ext cx="381020" cy="387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15697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11ACAC10-E114-437A-8A81-234CDA58E235}" vid="{34F66B37-322D-49DC-BBD6-F427F1E32194}"/>
    </a:ext>
  </a:extLst>
</a:theme>
</file>

<file path=ppt/theme/theme2.xml><?xml version="1.0" encoding="utf-8"?>
<a:theme xmlns:a="http://schemas.openxmlformats.org/drawingml/2006/main" name="2_US Consulting Report Template_R1.5V_0109">
  <a:themeElements>
    <a:clrScheme name="">
      <a:dk1>
        <a:srgbClr val="000000"/>
      </a:dk1>
      <a:lt1>
        <a:srgbClr val="FFFFFF"/>
      </a:lt1>
      <a:dk2>
        <a:srgbClr val="4066B2"/>
      </a:dk2>
      <a:lt2>
        <a:srgbClr val="009999"/>
      </a:lt2>
      <a:accent1>
        <a:srgbClr val="003399"/>
      </a:accent1>
      <a:accent2>
        <a:srgbClr val="8099CC"/>
      </a:accent2>
      <a:accent3>
        <a:srgbClr val="FFFFFF"/>
      </a:accent3>
      <a:accent4>
        <a:srgbClr val="000000"/>
      </a:accent4>
      <a:accent5>
        <a:srgbClr val="AAADCA"/>
      </a:accent5>
      <a:accent6>
        <a:srgbClr val="738AB9"/>
      </a:accent6>
      <a:hlink>
        <a:srgbClr val="80CCCC"/>
      </a:hlink>
      <a:folHlink>
        <a:srgbClr val="4066B2"/>
      </a:folHlink>
    </a:clrScheme>
    <a:fontScheme name="US Consulting Report Template_R1.5_0325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  <a:ln w="12700" cap="rnd" algn="ctr">
          <a:noFill/>
          <a:miter lim="800000"/>
          <a:headEnd/>
          <a:tailEnd/>
        </a:ln>
      </a:spPr>
      <a:bodyPr lIns="182880" anchor="ctr" anchorCtr="1"/>
      <a:lstStyle>
        <a:defPPr algn="ctr" eaLnBrk="0" hangingPunct="0">
          <a:lnSpc>
            <a:spcPct val="106000"/>
          </a:lnSpc>
          <a:defRPr b="1">
            <a:solidFill>
              <a:schemeClr val="bg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3152" tIns="73152" rIns="73152" bIns="73152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6000"/>
          </a:lnSpc>
          <a:spcBef>
            <a:spcPct val="50000"/>
          </a:spcBef>
          <a:spcAft>
            <a:spcPct val="0"/>
          </a:spcAft>
          <a:buClrTx/>
          <a:buSzPct val="100000"/>
          <a:buFont typeface="Wingdings 2" pitchFamily="18" charset="2"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/>
      <a:bodyPr/>
      <a:lstStyle>
        <a:defPPr marL="169863" indent="-168275" algn="l" rtl="0" fontAlgn="base">
          <a:lnSpc>
            <a:spcPct val="106000"/>
          </a:lnSpc>
          <a:spcBef>
            <a:spcPct val="80000"/>
          </a:spcBef>
          <a:spcAft>
            <a:spcPct val="0"/>
          </a:spcAft>
          <a:buClr>
            <a:srgbClr val="000000"/>
          </a:buClr>
          <a:buFont typeface="Wingdings 2" pitchFamily="18" charset="2"/>
          <a:buChar char="¡"/>
          <a:defRPr sz="1100" kern="1200" dirty="0">
            <a:solidFill>
              <a:srgbClr val="000000"/>
            </a:solidFill>
            <a:latin typeface="Arial"/>
            <a:ea typeface="+mn-ea"/>
            <a:cs typeface="Arial" charset="0"/>
          </a:defRPr>
        </a:defPPr>
      </a:lstStyle>
    </a:txDef>
  </a:objectDefaults>
  <a:extraClrSchemeLst>
    <a:extraClrScheme>
      <a:clrScheme name="US Consulting Report Template_R1.5_032508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 Consulting Report Template_R1.5_032508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8">
        <a:dk1>
          <a:srgbClr val="000000"/>
        </a:dk1>
        <a:lt1>
          <a:srgbClr val="FFFFFF"/>
        </a:lt1>
        <a:dk2>
          <a:srgbClr val="B2CADB"/>
        </a:dk2>
        <a:lt2>
          <a:srgbClr val="1D3A6A"/>
        </a:lt2>
        <a:accent1>
          <a:srgbClr val="DED3B6"/>
        </a:accent1>
        <a:accent2>
          <a:srgbClr val="EAB58E"/>
        </a:accent2>
        <a:accent3>
          <a:srgbClr val="FFFFFF"/>
        </a:accent3>
        <a:accent4>
          <a:srgbClr val="000000"/>
        </a:accent4>
        <a:accent5>
          <a:srgbClr val="ECE6D7"/>
        </a:accent5>
        <a:accent6>
          <a:srgbClr val="D4A480"/>
        </a:accent6>
        <a:hlink>
          <a:srgbClr val="F5DDCB"/>
        </a:hlink>
        <a:folHlink>
          <a:srgbClr val="FEF2D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9">
        <a:dk1>
          <a:srgbClr val="000000"/>
        </a:dk1>
        <a:lt1>
          <a:srgbClr val="FFFFFF"/>
        </a:lt1>
        <a:dk2>
          <a:srgbClr val="FEF2D2"/>
        </a:dk2>
        <a:lt2>
          <a:srgbClr val="1D3A6A"/>
        </a:lt2>
        <a:accent1>
          <a:srgbClr val="B2CADB"/>
        </a:accent1>
        <a:accent2>
          <a:srgbClr val="DED3B6"/>
        </a:accent2>
        <a:accent3>
          <a:srgbClr val="FFFFFF"/>
        </a:accent3>
        <a:accent4>
          <a:srgbClr val="000000"/>
        </a:accent4>
        <a:accent5>
          <a:srgbClr val="D5E1EA"/>
        </a:accent5>
        <a:accent6>
          <a:srgbClr val="C9BFA5"/>
        </a:accent6>
        <a:hlink>
          <a:srgbClr val="EAB58E"/>
        </a:hlink>
        <a:folHlink>
          <a:srgbClr val="F5DD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0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9DA5BE"/>
        </a:accent1>
        <a:accent2>
          <a:srgbClr val="85C2FE"/>
        </a:accent2>
        <a:accent3>
          <a:srgbClr val="FFFFFF"/>
        </a:accent3>
        <a:accent4>
          <a:srgbClr val="000000"/>
        </a:accent4>
        <a:accent5>
          <a:srgbClr val="CCCFDB"/>
        </a:accent5>
        <a:accent6>
          <a:srgbClr val="78B0E6"/>
        </a:accent6>
        <a:hlink>
          <a:srgbClr val="ADD6FF"/>
        </a:hlink>
        <a:folHlink>
          <a:srgbClr val="D6EB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1">
        <a:dk1>
          <a:srgbClr val="AFAFAF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959595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F1ED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2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000000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F1ED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3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000000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D6EB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4">
        <a:dk1>
          <a:srgbClr val="000000"/>
        </a:dk1>
        <a:lt1>
          <a:srgbClr val="FFFFFF"/>
        </a:lt1>
        <a:dk2>
          <a:srgbClr val="CCD6EB"/>
        </a:dk2>
        <a:lt2>
          <a:srgbClr val="000066"/>
        </a:lt2>
        <a:accent1>
          <a:srgbClr val="40B3B3"/>
        </a:accent1>
        <a:accent2>
          <a:srgbClr val="B2C1E0"/>
        </a:accent2>
        <a:accent3>
          <a:srgbClr val="FFFFFF"/>
        </a:accent3>
        <a:accent4>
          <a:srgbClr val="000000"/>
        </a:accent4>
        <a:accent5>
          <a:srgbClr val="AFD6D6"/>
        </a:accent5>
        <a:accent6>
          <a:srgbClr val="A1AFCB"/>
        </a:accent6>
        <a:hlink>
          <a:srgbClr val="66C2C2"/>
        </a:hlink>
        <a:folHlink>
          <a:srgbClr val="8CA3D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5">
        <a:dk1>
          <a:srgbClr val="000000"/>
        </a:dk1>
        <a:lt1>
          <a:srgbClr val="FFFFFF"/>
        </a:lt1>
        <a:dk2>
          <a:srgbClr val="4066B2"/>
        </a:dk2>
        <a:lt2>
          <a:srgbClr val="000066"/>
        </a:lt2>
        <a:accent1>
          <a:srgbClr val="003399"/>
        </a:accent1>
        <a:accent2>
          <a:srgbClr val="80CCCC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B9B9"/>
        </a:accent6>
        <a:hlink>
          <a:srgbClr val="8099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6">
        <a:dk1>
          <a:srgbClr val="000000"/>
        </a:dk1>
        <a:lt1>
          <a:srgbClr val="FFFFFF"/>
        </a:lt1>
        <a:dk2>
          <a:srgbClr val="4066B2"/>
        </a:dk2>
        <a:lt2>
          <a:srgbClr val="000066"/>
        </a:lt2>
        <a:accent1>
          <a:srgbClr val="003399"/>
        </a:accent1>
        <a:accent2>
          <a:srgbClr val="8099CC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8AB9"/>
        </a:accent6>
        <a:hlink>
          <a:srgbClr val="80CCCC"/>
        </a:hlink>
        <a:folHlink>
          <a:srgbClr val="4066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11ACAC10-E114-437A-8A81-234CDA58E235}" vid="{34F66B37-322D-49DC-BBD6-F427F1E32194}"/>
    </a:ext>
  </a:extLst>
</a:theme>
</file>

<file path=ppt/theme/theme4.xml><?xml version="1.0" encoding="utf-8"?>
<a:theme xmlns:a="http://schemas.openxmlformats.org/drawingml/2006/main" name="13_US Consulting Report Template_R1.5V_0310">
  <a:themeElements>
    <a:clrScheme name="Deloitte Standard Colors">
      <a:dk1>
        <a:srgbClr val="000000"/>
      </a:dk1>
      <a:lt1>
        <a:srgbClr val="FFFFFF"/>
      </a:lt1>
      <a:dk2>
        <a:srgbClr val="4066B2"/>
      </a:dk2>
      <a:lt2>
        <a:srgbClr val="009999"/>
      </a:lt2>
      <a:accent1>
        <a:srgbClr val="003399"/>
      </a:accent1>
      <a:accent2>
        <a:srgbClr val="8099CC"/>
      </a:accent2>
      <a:accent3>
        <a:srgbClr val="6666FF"/>
      </a:accent3>
      <a:accent4>
        <a:srgbClr val="009999"/>
      </a:accent4>
      <a:accent5>
        <a:srgbClr val="003399"/>
      </a:accent5>
      <a:accent6>
        <a:srgbClr val="99CC33"/>
      </a:accent6>
      <a:hlink>
        <a:srgbClr val="000066"/>
      </a:hlink>
      <a:folHlink>
        <a:srgbClr val="4066B2"/>
      </a:folHlink>
    </a:clrScheme>
    <a:fontScheme name="US Consulting Report Template_R1.5_0325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  <a:ln w="12700" cap="rnd" algn="ctr">
          <a:noFill/>
          <a:miter lim="800000"/>
          <a:headEnd/>
          <a:tailEnd/>
        </a:ln>
      </a:spPr>
      <a:bodyPr lIns="182880" anchor="ctr" anchorCtr="1"/>
      <a:lstStyle>
        <a:defPPr algn="ctr" eaLnBrk="0" hangingPunct="0">
          <a:lnSpc>
            <a:spcPct val="106000"/>
          </a:lnSpc>
          <a:defRPr b="1">
            <a:solidFill>
              <a:schemeClr val="bg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3152" tIns="73152" rIns="73152" bIns="73152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6000"/>
          </a:lnSpc>
          <a:spcBef>
            <a:spcPct val="50000"/>
          </a:spcBef>
          <a:spcAft>
            <a:spcPct val="0"/>
          </a:spcAft>
          <a:buClrTx/>
          <a:buSzPct val="100000"/>
          <a:buFont typeface="Wingdings 2" pitchFamily="18" charset="2"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/>
      <a:bodyPr/>
      <a:lstStyle>
        <a:defPPr marL="169863" indent="-168275" algn="l" rtl="0" fontAlgn="base">
          <a:lnSpc>
            <a:spcPct val="106000"/>
          </a:lnSpc>
          <a:spcBef>
            <a:spcPct val="80000"/>
          </a:spcBef>
          <a:spcAft>
            <a:spcPct val="0"/>
          </a:spcAft>
          <a:buClr>
            <a:srgbClr val="000000"/>
          </a:buClr>
          <a:buFont typeface="Wingdings 2" pitchFamily="18" charset="2"/>
          <a:buChar char="¡"/>
          <a:defRPr sz="1100" kern="1200" dirty="0">
            <a:solidFill>
              <a:srgbClr val="000000"/>
            </a:solidFill>
            <a:latin typeface="Arial"/>
            <a:ea typeface="+mn-ea"/>
            <a:cs typeface="Arial" charset="0"/>
          </a:defRPr>
        </a:defPPr>
      </a:lstStyle>
    </a:txDef>
  </a:objectDefaults>
  <a:extraClrSchemeLst>
    <a:extraClrScheme>
      <a:clrScheme name="US Consulting Report Template_R1.5_032508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 Consulting Report Template_R1.5_032508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8">
        <a:dk1>
          <a:srgbClr val="000000"/>
        </a:dk1>
        <a:lt1>
          <a:srgbClr val="FFFFFF"/>
        </a:lt1>
        <a:dk2>
          <a:srgbClr val="B2CADB"/>
        </a:dk2>
        <a:lt2>
          <a:srgbClr val="1D3A6A"/>
        </a:lt2>
        <a:accent1>
          <a:srgbClr val="DED3B6"/>
        </a:accent1>
        <a:accent2>
          <a:srgbClr val="EAB58E"/>
        </a:accent2>
        <a:accent3>
          <a:srgbClr val="FFFFFF"/>
        </a:accent3>
        <a:accent4>
          <a:srgbClr val="000000"/>
        </a:accent4>
        <a:accent5>
          <a:srgbClr val="ECE6D7"/>
        </a:accent5>
        <a:accent6>
          <a:srgbClr val="D4A480"/>
        </a:accent6>
        <a:hlink>
          <a:srgbClr val="F5DDCB"/>
        </a:hlink>
        <a:folHlink>
          <a:srgbClr val="FEF2D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9">
        <a:dk1>
          <a:srgbClr val="000000"/>
        </a:dk1>
        <a:lt1>
          <a:srgbClr val="FFFFFF"/>
        </a:lt1>
        <a:dk2>
          <a:srgbClr val="FEF2D2"/>
        </a:dk2>
        <a:lt2>
          <a:srgbClr val="1D3A6A"/>
        </a:lt2>
        <a:accent1>
          <a:srgbClr val="B2CADB"/>
        </a:accent1>
        <a:accent2>
          <a:srgbClr val="DED3B6"/>
        </a:accent2>
        <a:accent3>
          <a:srgbClr val="FFFFFF"/>
        </a:accent3>
        <a:accent4>
          <a:srgbClr val="000000"/>
        </a:accent4>
        <a:accent5>
          <a:srgbClr val="D5E1EA"/>
        </a:accent5>
        <a:accent6>
          <a:srgbClr val="C9BFA5"/>
        </a:accent6>
        <a:hlink>
          <a:srgbClr val="EAB58E"/>
        </a:hlink>
        <a:folHlink>
          <a:srgbClr val="F5DD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0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9DA5BE"/>
        </a:accent1>
        <a:accent2>
          <a:srgbClr val="85C2FE"/>
        </a:accent2>
        <a:accent3>
          <a:srgbClr val="FFFFFF"/>
        </a:accent3>
        <a:accent4>
          <a:srgbClr val="000000"/>
        </a:accent4>
        <a:accent5>
          <a:srgbClr val="CCCFDB"/>
        </a:accent5>
        <a:accent6>
          <a:srgbClr val="78B0E6"/>
        </a:accent6>
        <a:hlink>
          <a:srgbClr val="ADD6FF"/>
        </a:hlink>
        <a:folHlink>
          <a:srgbClr val="D6EB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1">
        <a:dk1>
          <a:srgbClr val="AFAFAF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959595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F1ED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2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000000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F1ED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3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000000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D6EB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4">
        <a:dk1>
          <a:srgbClr val="000000"/>
        </a:dk1>
        <a:lt1>
          <a:srgbClr val="FFFFFF"/>
        </a:lt1>
        <a:dk2>
          <a:srgbClr val="CCD6EB"/>
        </a:dk2>
        <a:lt2>
          <a:srgbClr val="000066"/>
        </a:lt2>
        <a:accent1>
          <a:srgbClr val="40B3B3"/>
        </a:accent1>
        <a:accent2>
          <a:srgbClr val="B2C1E0"/>
        </a:accent2>
        <a:accent3>
          <a:srgbClr val="FFFFFF"/>
        </a:accent3>
        <a:accent4>
          <a:srgbClr val="000000"/>
        </a:accent4>
        <a:accent5>
          <a:srgbClr val="AFD6D6"/>
        </a:accent5>
        <a:accent6>
          <a:srgbClr val="A1AFCB"/>
        </a:accent6>
        <a:hlink>
          <a:srgbClr val="66C2C2"/>
        </a:hlink>
        <a:folHlink>
          <a:srgbClr val="8CA3D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5">
        <a:dk1>
          <a:srgbClr val="000000"/>
        </a:dk1>
        <a:lt1>
          <a:srgbClr val="FFFFFF"/>
        </a:lt1>
        <a:dk2>
          <a:srgbClr val="4066B2"/>
        </a:dk2>
        <a:lt2>
          <a:srgbClr val="000066"/>
        </a:lt2>
        <a:accent1>
          <a:srgbClr val="003399"/>
        </a:accent1>
        <a:accent2>
          <a:srgbClr val="80CCCC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B9B9"/>
        </a:accent6>
        <a:hlink>
          <a:srgbClr val="8099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6">
        <a:dk1>
          <a:srgbClr val="000000"/>
        </a:dk1>
        <a:lt1>
          <a:srgbClr val="FFFFFF"/>
        </a:lt1>
        <a:dk2>
          <a:srgbClr val="4066B2"/>
        </a:dk2>
        <a:lt2>
          <a:srgbClr val="000066"/>
        </a:lt2>
        <a:accent1>
          <a:srgbClr val="003399"/>
        </a:accent1>
        <a:accent2>
          <a:srgbClr val="8099CC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8AB9"/>
        </a:accent6>
        <a:hlink>
          <a:srgbClr val="80CCCC"/>
        </a:hlink>
        <a:folHlink>
          <a:srgbClr val="4066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U.S. Consulting Report Template_022307">
  <a:themeElements>
    <a:clrScheme name="">
      <a:dk1>
        <a:srgbClr val="000000"/>
      </a:dk1>
      <a:lt1>
        <a:srgbClr val="FFFFFF"/>
      </a:lt1>
      <a:dk2>
        <a:srgbClr val="99CC00"/>
      </a:dk2>
      <a:lt2>
        <a:srgbClr val="009999"/>
      </a:lt2>
      <a:accent1>
        <a:srgbClr val="003399"/>
      </a:accent1>
      <a:accent2>
        <a:srgbClr val="8099CC"/>
      </a:accent2>
      <a:accent3>
        <a:srgbClr val="FFFFFF"/>
      </a:accent3>
      <a:accent4>
        <a:srgbClr val="000000"/>
      </a:accent4>
      <a:accent5>
        <a:srgbClr val="AAADCA"/>
      </a:accent5>
      <a:accent6>
        <a:srgbClr val="738AB9"/>
      </a:accent6>
      <a:hlink>
        <a:srgbClr val="80CCCC"/>
      </a:hlink>
      <a:folHlink>
        <a:srgbClr val="4066B2"/>
      </a:folHlink>
    </a:clrScheme>
    <a:fontScheme name="U.S. Consulting Report Template_02230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89803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3152" tIns="73152" rIns="73152" bIns="73152" numCol="1" anchor="ctr" anchorCtr="1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6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89803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3152" tIns="73152" rIns="73152" bIns="73152" numCol="1" anchor="ctr" anchorCtr="1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6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U.S. Consulting Report Template_022307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.S. Consulting Report Template_022307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8">
        <a:dk1>
          <a:srgbClr val="000000"/>
        </a:dk1>
        <a:lt1>
          <a:srgbClr val="FFFFFF"/>
        </a:lt1>
        <a:dk2>
          <a:srgbClr val="B2CADB"/>
        </a:dk2>
        <a:lt2>
          <a:srgbClr val="1D3A6A"/>
        </a:lt2>
        <a:accent1>
          <a:srgbClr val="DED3B6"/>
        </a:accent1>
        <a:accent2>
          <a:srgbClr val="EAB58E"/>
        </a:accent2>
        <a:accent3>
          <a:srgbClr val="FFFFFF"/>
        </a:accent3>
        <a:accent4>
          <a:srgbClr val="000000"/>
        </a:accent4>
        <a:accent5>
          <a:srgbClr val="ECE6D7"/>
        </a:accent5>
        <a:accent6>
          <a:srgbClr val="D4A480"/>
        </a:accent6>
        <a:hlink>
          <a:srgbClr val="F5DDCB"/>
        </a:hlink>
        <a:folHlink>
          <a:srgbClr val="FEF2D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9">
        <a:dk1>
          <a:srgbClr val="000000"/>
        </a:dk1>
        <a:lt1>
          <a:srgbClr val="FFFFFF"/>
        </a:lt1>
        <a:dk2>
          <a:srgbClr val="FEF2D2"/>
        </a:dk2>
        <a:lt2>
          <a:srgbClr val="1D3A6A"/>
        </a:lt2>
        <a:accent1>
          <a:srgbClr val="B2CADB"/>
        </a:accent1>
        <a:accent2>
          <a:srgbClr val="DED3B6"/>
        </a:accent2>
        <a:accent3>
          <a:srgbClr val="FFFFFF"/>
        </a:accent3>
        <a:accent4>
          <a:srgbClr val="000000"/>
        </a:accent4>
        <a:accent5>
          <a:srgbClr val="D5E1EA"/>
        </a:accent5>
        <a:accent6>
          <a:srgbClr val="C9BFA5"/>
        </a:accent6>
        <a:hlink>
          <a:srgbClr val="EAB58E"/>
        </a:hlink>
        <a:folHlink>
          <a:srgbClr val="F5DD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10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9DA5BE"/>
        </a:accent1>
        <a:accent2>
          <a:srgbClr val="85C2FE"/>
        </a:accent2>
        <a:accent3>
          <a:srgbClr val="FFFFFF"/>
        </a:accent3>
        <a:accent4>
          <a:srgbClr val="000000"/>
        </a:accent4>
        <a:accent5>
          <a:srgbClr val="CCCFDB"/>
        </a:accent5>
        <a:accent6>
          <a:srgbClr val="78B0E6"/>
        </a:accent6>
        <a:hlink>
          <a:srgbClr val="ADD6FF"/>
        </a:hlink>
        <a:folHlink>
          <a:srgbClr val="D6EB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11">
        <a:dk1>
          <a:srgbClr val="AFAFAF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959595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F1ED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12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000000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F1ED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13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000000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D6EB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14">
        <a:dk1>
          <a:srgbClr val="000000"/>
        </a:dk1>
        <a:lt1>
          <a:srgbClr val="FFFFFF"/>
        </a:lt1>
        <a:dk2>
          <a:srgbClr val="CCD6EB"/>
        </a:dk2>
        <a:lt2>
          <a:srgbClr val="000066"/>
        </a:lt2>
        <a:accent1>
          <a:srgbClr val="40B3B3"/>
        </a:accent1>
        <a:accent2>
          <a:srgbClr val="B2C1E0"/>
        </a:accent2>
        <a:accent3>
          <a:srgbClr val="FFFFFF"/>
        </a:accent3>
        <a:accent4>
          <a:srgbClr val="000000"/>
        </a:accent4>
        <a:accent5>
          <a:srgbClr val="AFD6D6"/>
        </a:accent5>
        <a:accent6>
          <a:srgbClr val="A1AFCB"/>
        </a:accent6>
        <a:hlink>
          <a:srgbClr val="66C2C2"/>
        </a:hlink>
        <a:folHlink>
          <a:srgbClr val="8CA3D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15">
        <a:dk1>
          <a:srgbClr val="000000"/>
        </a:dk1>
        <a:lt1>
          <a:srgbClr val="FFFFFF"/>
        </a:lt1>
        <a:dk2>
          <a:srgbClr val="4066B2"/>
        </a:dk2>
        <a:lt2>
          <a:srgbClr val="000066"/>
        </a:lt2>
        <a:accent1>
          <a:srgbClr val="003399"/>
        </a:accent1>
        <a:accent2>
          <a:srgbClr val="80CCCC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B9B9"/>
        </a:accent6>
        <a:hlink>
          <a:srgbClr val="8099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.S. Consulting Report Template_022307 16">
        <a:dk1>
          <a:srgbClr val="000000"/>
        </a:dk1>
        <a:lt1>
          <a:srgbClr val="FFFFFF"/>
        </a:lt1>
        <a:dk2>
          <a:srgbClr val="4066B2"/>
        </a:dk2>
        <a:lt2>
          <a:srgbClr val="000066"/>
        </a:lt2>
        <a:accent1>
          <a:srgbClr val="003399"/>
        </a:accent1>
        <a:accent2>
          <a:srgbClr val="8099CC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8AB9"/>
        </a:accent6>
        <a:hlink>
          <a:srgbClr val="80CCCC"/>
        </a:hlink>
        <a:folHlink>
          <a:srgbClr val="4066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11ACAC10-E114-437A-8A81-234CDA58E235}" vid="{34F66B37-322D-49DC-BBD6-F427F1E32194}"/>
    </a:ext>
  </a:extLst>
</a:theme>
</file>

<file path=ppt/theme/theme7.xml><?xml version="1.0" encoding="utf-8"?>
<a:theme xmlns:a="http://schemas.openxmlformats.org/drawingml/2006/main" name="4_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11ACAC10-E114-437A-8A81-234CDA58E235}" vid="{34F66B37-322D-49DC-BBD6-F427F1E32194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653</TotalTime>
  <Words>1138</Words>
  <Application>Microsoft Office PowerPoint</Application>
  <PresentationFormat>On-screen Show (4:3)</PresentationFormat>
  <Paragraphs>115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6" baseType="lpstr">
      <vt:lpstr>Arial</vt:lpstr>
      <vt:lpstr>Calibri</vt:lpstr>
      <vt:lpstr>Open Sans</vt:lpstr>
      <vt:lpstr>Verdana</vt:lpstr>
      <vt:lpstr>Wingdings</vt:lpstr>
      <vt:lpstr>Wingdings 2</vt:lpstr>
      <vt:lpstr>1_Deloitte 16_9 onscreen</vt:lpstr>
      <vt:lpstr>2_US Consulting Report Template_R1.5V_0109</vt:lpstr>
      <vt:lpstr>2_Deloitte 16_9 onscreen</vt:lpstr>
      <vt:lpstr>13_US Consulting Report Template_R1.5V_0310</vt:lpstr>
      <vt:lpstr>U.S. Consulting Report Template_022307</vt:lpstr>
      <vt:lpstr>3_Deloitte 16_9 onscreen</vt:lpstr>
      <vt:lpstr>4_Deloitte 16_9 onscreen</vt:lpstr>
      <vt:lpstr>think-cell Slide</vt:lpstr>
      <vt:lpstr>PowerPoint Presentation</vt:lpstr>
      <vt:lpstr>Fraud Scenarios</vt:lpstr>
      <vt:lpstr>Fraud Scenarios</vt:lpstr>
      <vt:lpstr>Fraud Scenarios</vt:lpstr>
      <vt:lpstr>Fraud Scenarios</vt:lpstr>
      <vt:lpstr>Fraud Scenarios</vt:lpstr>
      <vt:lpstr>Fraud Scenarios</vt:lpstr>
      <vt:lpstr>Fraud Scenarios</vt:lpstr>
      <vt:lpstr>Fraud Scenarios</vt:lpstr>
      <vt:lpstr>Fraud Scenarios</vt:lpstr>
      <vt:lpstr>Fraud Scenarios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gana, Vinod</dc:creator>
  <cp:lastModifiedBy>Shroff, Rajni (US - Boston)</cp:lastModifiedBy>
  <cp:revision>2171</cp:revision>
  <cp:lastPrinted>2018-09-18T14:45:03Z</cp:lastPrinted>
  <dcterms:created xsi:type="dcterms:W3CDTF">2016-07-06T10:19:13Z</dcterms:created>
  <dcterms:modified xsi:type="dcterms:W3CDTF">2018-10-16T01:36:52Z</dcterms:modified>
</cp:coreProperties>
</file>